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tags/tag47.xml" ContentType="application/vnd.openxmlformats-officedocument.presentationml.tags+xml"/>
  <Override PartName="/ppt/notesSlides/notesSlide3.xml" ContentType="application/vnd.openxmlformats-officedocument.presentationml.notesSlide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notesSlides/notesSlide8.xml" ContentType="application/vnd.openxmlformats-officedocument.presentationml.notesSlide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3.xml" ContentType="application/vnd.openxmlformats-officedocument.presentationml.notesSlide+xml"/>
  <Override PartName="/ppt/tags/tag76.xml" ContentType="application/vnd.openxmlformats-officedocument.presentationml.tags+xml"/>
  <Override PartName="/ppt/notesSlides/notesSlide14.xml" ContentType="application/vnd.openxmlformats-officedocument.presentationml.notesSlide+xml"/>
  <Override PartName="/ppt/tags/tag77.xml" ContentType="application/vnd.openxmlformats-officedocument.presentationml.tags+xml"/>
  <Override PartName="/ppt/notesSlides/notesSlide15.xml" ContentType="application/vnd.openxmlformats-officedocument.presentationml.notesSlide+xml"/>
  <Override PartName="/ppt/tags/tag78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2" r:id="rId2"/>
  </p:sldMasterIdLst>
  <p:notesMasterIdLst>
    <p:notesMasterId r:id="rId19"/>
  </p:notesMasterIdLst>
  <p:sldIdLst>
    <p:sldId id="322" r:id="rId3"/>
    <p:sldId id="323" r:id="rId4"/>
    <p:sldId id="324" r:id="rId5"/>
    <p:sldId id="325" r:id="rId6"/>
    <p:sldId id="328" r:id="rId7"/>
    <p:sldId id="329" r:id="rId8"/>
    <p:sldId id="330" r:id="rId9"/>
    <p:sldId id="307" r:id="rId10"/>
    <p:sldId id="332" r:id="rId11"/>
    <p:sldId id="293" r:id="rId12"/>
    <p:sldId id="331" r:id="rId13"/>
    <p:sldId id="303" r:id="rId14"/>
    <p:sldId id="346" r:id="rId15"/>
    <p:sldId id="358" r:id="rId16"/>
    <p:sldId id="361" r:id="rId17"/>
    <p:sldId id="38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D3C2"/>
    <a:srgbClr val="9CD3C4"/>
    <a:srgbClr val="98D2BF"/>
    <a:srgbClr val="E6F4ED"/>
    <a:srgbClr val="A2D6BE"/>
    <a:srgbClr val="8FCDB1"/>
    <a:srgbClr val="439771"/>
    <a:srgbClr val="49A57B"/>
    <a:srgbClr val="8BCBAE"/>
    <a:srgbClr val="CAD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05E12D-E5AD-4CCD-BCE0-AE0E8523EA91}" v="214" dt="2022-11-10T16:17:14.595"/>
    <p1510:client id="{6F907AAC-D930-4567-876C-DBA2AD137AE7}" v="9" dt="2022-11-02T14:51:54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2" autoAdjust="0"/>
    <p:restoredTop sz="94249" autoAdjust="0"/>
  </p:normalViewPr>
  <p:slideViewPr>
    <p:cSldViewPr snapToGrid="0">
      <p:cViewPr varScale="1">
        <p:scale>
          <a:sx n="68" d="100"/>
          <a:sy n="68" d="100"/>
        </p:scale>
        <p:origin x="738" y="66"/>
      </p:cViewPr>
      <p:guideLst/>
    </p:cSldViewPr>
  </p:slideViewPr>
  <p:outlineViewPr>
    <p:cViewPr>
      <p:scale>
        <a:sx n="33" d="100"/>
        <a:sy n="33" d="100"/>
      </p:scale>
      <p:origin x="0" y="-364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i Khoury" userId="S::rami@auxi.ai::71bbf9ab-5347-4116-ad90-41b06fea083e" providerId="AD" clId="Web-{0F05E12D-E5AD-4CCD-BCE0-AE0E8523EA91}"/>
    <pc:docChg chg="addSld delSld modSld modSection">
      <pc:chgData name="Rami Khoury" userId="S::rami@auxi.ai::71bbf9ab-5347-4116-ad90-41b06fea083e" providerId="AD" clId="Web-{0F05E12D-E5AD-4CCD-BCE0-AE0E8523EA91}" dt="2022-11-10T16:17:14.314" v="197" actId="20577"/>
      <pc:docMkLst>
        <pc:docMk/>
      </pc:docMkLst>
      <pc:sldChg chg="addSp modSp">
        <pc:chgData name="Rami Khoury" userId="S::rami@auxi.ai::71bbf9ab-5347-4116-ad90-41b06fea083e" providerId="AD" clId="Web-{0F05E12D-E5AD-4CCD-BCE0-AE0E8523EA91}" dt="2022-11-10T16:12:19.730" v="12" actId="20577"/>
        <pc:sldMkLst>
          <pc:docMk/>
          <pc:sldMk cId="2001438181" sldId="414"/>
        </pc:sldMkLst>
        <pc:spChg chg="add mod">
          <ac:chgData name="Rami Khoury" userId="S::rami@auxi.ai::71bbf9ab-5347-4116-ad90-41b06fea083e" providerId="AD" clId="Web-{0F05E12D-E5AD-4CCD-BCE0-AE0E8523EA91}" dt="2022-11-10T16:12:19.730" v="12" actId="20577"/>
          <ac:spMkLst>
            <pc:docMk/>
            <pc:sldMk cId="2001438181" sldId="414"/>
            <ac:spMk id="3" creationId="{CC062EAB-C249-7060-E30B-C19AC4862F8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3:13.481" v="22" actId="1076"/>
        <pc:sldMkLst>
          <pc:docMk/>
          <pc:sldMk cId="3992836934" sldId="416"/>
        </pc:sldMkLst>
        <pc:spChg chg="add mod">
          <ac:chgData name="Rami Khoury" userId="S::rami@auxi.ai::71bbf9ab-5347-4116-ad90-41b06fea083e" providerId="AD" clId="Web-{0F05E12D-E5AD-4CCD-BCE0-AE0E8523EA91}" dt="2022-11-10T16:13:13.481" v="22" actId="1076"/>
          <ac:spMkLst>
            <pc:docMk/>
            <pc:sldMk cId="3992836934" sldId="416"/>
            <ac:spMk id="3" creationId="{2E336C8A-9CEB-6D6A-7908-B25424C6F4E9}"/>
          </ac:spMkLst>
        </pc:spChg>
      </pc:sldChg>
      <pc:sldChg chg="addSp delSp modSp add del">
        <pc:chgData name="Rami Khoury" userId="S::rami@auxi.ai::71bbf9ab-5347-4116-ad90-41b06fea083e" providerId="AD" clId="Web-{0F05E12D-E5AD-4CCD-BCE0-AE0E8523EA91}" dt="2022-11-10T16:13:39.825" v="43" actId="20577"/>
        <pc:sldMkLst>
          <pc:docMk/>
          <pc:sldMk cId="3140112688" sldId="417"/>
        </pc:sldMkLst>
        <pc:spChg chg="add del mod">
          <ac:chgData name="Rami Khoury" userId="S::rami@auxi.ai::71bbf9ab-5347-4116-ad90-41b06fea083e" providerId="AD" clId="Web-{0F05E12D-E5AD-4CCD-BCE0-AE0E8523EA91}" dt="2022-11-10T16:13:18.262" v="26"/>
          <ac:spMkLst>
            <pc:docMk/>
            <pc:sldMk cId="3140112688" sldId="417"/>
            <ac:spMk id="3" creationId="{80B8F26D-0BE7-EDE6-7E62-3034B9E41D86}"/>
          </ac:spMkLst>
        </pc:spChg>
        <pc:spChg chg="add del mod">
          <ac:chgData name="Rami Khoury" userId="S::rami@auxi.ai::71bbf9ab-5347-4116-ad90-41b06fea083e" providerId="AD" clId="Web-{0F05E12D-E5AD-4CCD-BCE0-AE0E8523EA91}" dt="2022-11-10T16:13:34.247" v="31"/>
          <ac:spMkLst>
            <pc:docMk/>
            <pc:sldMk cId="3140112688" sldId="417"/>
            <ac:spMk id="4" creationId="{003CDC4E-FA54-8E28-DEE4-F6013A5F0413}"/>
          </ac:spMkLst>
        </pc:spChg>
        <pc:spChg chg="add mod">
          <ac:chgData name="Rami Khoury" userId="S::rami@auxi.ai::71bbf9ab-5347-4116-ad90-41b06fea083e" providerId="AD" clId="Web-{0F05E12D-E5AD-4CCD-BCE0-AE0E8523EA91}" dt="2022-11-10T16:13:39.825" v="43" actId="20577"/>
          <ac:spMkLst>
            <pc:docMk/>
            <pc:sldMk cId="3140112688" sldId="417"/>
            <ac:spMk id="7" creationId="{DFA4F06A-320F-144A-39C8-0A7EFF682458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26.045" v="109" actId="20577"/>
        <pc:sldMkLst>
          <pc:docMk/>
          <pc:sldMk cId="2730051296" sldId="419"/>
        </pc:sldMkLst>
        <pc:spChg chg="add mod">
          <ac:chgData name="Rami Khoury" userId="S::rami@auxi.ai::71bbf9ab-5347-4116-ad90-41b06fea083e" providerId="AD" clId="Web-{0F05E12D-E5AD-4CCD-BCE0-AE0E8523EA91}" dt="2022-11-10T16:14:26.045" v="109" actId="20577"/>
          <ac:spMkLst>
            <pc:docMk/>
            <pc:sldMk cId="2730051296" sldId="419"/>
            <ac:spMk id="6" creationId="{240A4CCC-E414-E154-DC3F-DE4D0B9E4E6A}"/>
          </ac:spMkLst>
        </pc:spChg>
        <pc:spChg chg="mod">
          <ac:chgData name="Rami Khoury" userId="S::rami@auxi.ai::71bbf9ab-5347-4116-ad90-41b06fea083e" providerId="AD" clId="Web-{0F05E12D-E5AD-4CCD-BCE0-AE0E8523EA91}" dt="2022-11-10T16:14:07.841" v="86" actId="14100"/>
          <ac:spMkLst>
            <pc:docMk/>
            <pc:sldMk cId="2730051296" sldId="419"/>
            <ac:spMk id="25" creationId="{EE47316F-41E8-68C0-898F-3ED8FC7651F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41.279" v="113" actId="20577"/>
        <pc:sldMkLst>
          <pc:docMk/>
          <pc:sldMk cId="3660211604" sldId="425"/>
        </pc:sldMkLst>
        <pc:spChg chg="add mod">
          <ac:chgData name="Rami Khoury" userId="S::rami@auxi.ai::71bbf9ab-5347-4116-ad90-41b06fea083e" providerId="AD" clId="Web-{0F05E12D-E5AD-4CCD-BCE0-AE0E8523EA91}" dt="2022-11-10T16:14:41.279" v="113" actId="20577"/>
          <ac:spMkLst>
            <pc:docMk/>
            <pc:sldMk cId="3660211604" sldId="425"/>
            <ac:spMk id="6" creationId="{EE65DF4C-9F65-1789-93A2-39521A5967A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50.905" v="116" actId="20577"/>
        <pc:sldMkLst>
          <pc:docMk/>
          <pc:sldMk cId="2388409517" sldId="426"/>
        </pc:sldMkLst>
        <pc:spChg chg="add mod">
          <ac:chgData name="Rami Khoury" userId="S::rami@auxi.ai::71bbf9ab-5347-4116-ad90-41b06fea083e" providerId="AD" clId="Web-{0F05E12D-E5AD-4CCD-BCE0-AE0E8523EA91}" dt="2022-11-10T16:14:50.905" v="116" actId="20577"/>
          <ac:spMkLst>
            <pc:docMk/>
            <pc:sldMk cId="2388409517" sldId="426"/>
            <ac:spMk id="6" creationId="{044719B5-9F0C-5EC8-9638-6E216375488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5:35.640" v="135" actId="20577"/>
        <pc:sldMkLst>
          <pc:docMk/>
          <pc:sldMk cId="568402001" sldId="443"/>
        </pc:sldMkLst>
        <pc:spChg chg="add mod">
          <ac:chgData name="Rami Khoury" userId="S::rami@auxi.ai::71bbf9ab-5347-4116-ad90-41b06fea083e" providerId="AD" clId="Web-{0F05E12D-E5AD-4CCD-BCE0-AE0E8523EA91}" dt="2022-11-10T16:15:35.640" v="135" actId="20577"/>
          <ac:spMkLst>
            <pc:docMk/>
            <pc:sldMk cId="568402001" sldId="443"/>
            <ac:spMk id="4" creationId="{EEAB5E9B-8B9C-B581-B93B-650C37F994E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20.719" v="152" actId="20577"/>
        <pc:sldMkLst>
          <pc:docMk/>
          <pc:sldMk cId="484966792" sldId="454"/>
        </pc:sldMkLst>
        <pc:spChg chg="add mod">
          <ac:chgData name="Rami Khoury" userId="S::rami@auxi.ai::71bbf9ab-5347-4116-ad90-41b06fea083e" providerId="AD" clId="Web-{0F05E12D-E5AD-4CCD-BCE0-AE0E8523EA91}" dt="2022-11-10T16:16:20.719" v="152" actId="20577"/>
          <ac:spMkLst>
            <pc:docMk/>
            <pc:sldMk cId="484966792" sldId="454"/>
            <ac:spMk id="21" creationId="{54E6AAF6-0C68-4272-16C1-488C0BAC66A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54.235" v="184" actId="20577"/>
        <pc:sldMkLst>
          <pc:docMk/>
          <pc:sldMk cId="2275337115" sldId="456"/>
        </pc:sldMkLst>
        <pc:spChg chg="add mod">
          <ac:chgData name="Rami Khoury" userId="S::rami@auxi.ai::71bbf9ab-5347-4116-ad90-41b06fea083e" providerId="AD" clId="Web-{0F05E12D-E5AD-4CCD-BCE0-AE0E8523EA91}" dt="2022-11-10T16:16:54.235" v="184" actId="20577"/>
          <ac:spMkLst>
            <pc:docMk/>
            <pc:sldMk cId="2275337115" sldId="456"/>
            <ac:spMk id="6" creationId="{417D2393-8D83-3215-0F8E-6157E1FB171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7:14.314" v="197" actId="20577"/>
        <pc:sldMkLst>
          <pc:docMk/>
          <pc:sldMk cId="4219718538" sldId="462"/>
        </pc:sldMkLst>
        <pc:spChg chg="add mod">
          <ac:chgData name="Rami Khoury" userId="S::rami@auxi.ai::71bbf9ab-5347-4116-ad90-41b06fea083e" providerId="AD" clId="Web-{0F05E12D-E5AD-4CCD-BCE0-AE0E8523EA91}" dt="2022-11-10T16:17:14.314" v="197" actId="20577"/>
          <ac:spMkLst>
            <pc:docMk/>
            <pc:sldMk cId="4219718538" sldId="462"/>
            <ac:spMk id="4" creationId="{D17F0239-A2E4-3888-0FD8-708D862B48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E753A-2A8E-4FA4-A857-233A56515A45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1192C7-DD78-40CC-9E1E-119A9A8D5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000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150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18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2837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754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4523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2722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325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787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828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33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360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7917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54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41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9427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481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9A178C1-A3AB-42DA-BD9F-02AB940D8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68350"/>
          </a:xfrm>
        </p:spPr>
        <p:txBody>
          <a:bodyPr>
            <a:normAutofit/>
          </a:bodyPr>
          <a:lstStyle>
            <a:lvl1pPr algn="ctr">
              <a:defRPr sz="4000"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FBAF10-DC5A-4BE2-AF72-24BC22FFEA67}"/>
              </a:ext>
            </a:extLst>
          </p:cNvPr>
          <p:cNvCxnSpPr/>
          <p:nvPr userDrawn="1"/>
        </p:nvCxnSpPr>
        <p:spPr>
          <a:xfrm>
            <a:off x="4714875" y="1133476"/>
            <a:ext cx="2762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690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966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png"/><Relationship Id="rId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EC6455-DFBA-4FC6-912D-7CA9E9746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BE9-A651-402B-A68B-4ADB2D1EB9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829385E8-B333-C51C-1469-DC584208D0E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29058" y="6529807"/>
            <a:ext cx="640457" cy="161583"/>
          </a:xfrm>
          <a:prstGeom prst="rect">
            <a:avLst/>
          </a:prstGeom>
          <a:noFill/>
        </p:spPr>
        <p:txBody>
          <a:bodyPr wrap="square" lIns="44450" tIns="19050" rIns="44450" bIns="1905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01/25/2023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4699937-9159-C88C-3118-DA7FF8370B93}"/>
              </a:ext>
            </a:extLst>
          </p:cNvPr>
          <p:cNvSpPr txBox="1">
            <a:spLocks/>
          </p:cNvSpPr>
          <p:nvPr userDrawn="1"/>
        </p:nvSpPr>
        <p:spPr>
          <a:xfrm>
            <a:off x="554736" y="6569049"/>
            <a:ext cx="3483865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ource: www.auxi.ai 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A0E4693-A9BB-3FC3-1927-CB83F8E467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0839" cy="59083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02E6C8-F963-A0C1-095E-0B43F738F44A}"/>
              </a:ext>
            </a:extLst>
          </p:cNvPr>
          <p:cNvCxnSpPr/>
          <p:nvPr userDrawn="1"/>
        </p:nvCxnSpPr>
        <p:spPr>
          <a:xfrm>
            <a:off x="251648" y="-535634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8B0FBD5-E1A4-B69C-450C-91624EA0407A}"/>
              </a:ext>
            </a:extLst>
          </p:cNvPr>
          <p:cNvSpPr txBox="1">
            <a:spLocks/>
          </p:cNvSpPr>
          <p:nvPr userDrawn="1"/>
        </p:nvSpPr>
        <p:spPr>
          <a:xfrm>
            <a:off x="11154508" y="6417897"/>
            <a:ext cx="39858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2CAE1DF-9AA2-46A4-9D05-5CEA4E3CC4AD}" type="slidenum">
              <a:rPr lang="en-US" sz="100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619C54-4128-E600-56AD-8F766CCBF434}"/>
              </a:ext>
            </a:extLst>
          </p:cNvPr>
          <p:cNvCxnSpPr/>
          <p:nvPr userDrawn="1"/>
        </p:nvCxnSpPr>
        <p:spPr>
          <a:xfrm>
            <a:off x="10157648" y="5725466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22">
            <a:extLst>
              <a:ext uri="{FF2B5EF4-FFF2-40B4-BE49-F238E27FC236}">
                <a16:creationId xmlns:a16="http://schemas.microsoft.com/office/drawing/2014/main" id="{9F332D41-702B-56F6-4D67-B234FF198D30}"/>
              </a:ext>
            </a:extLst>
          </p:cNvPr>
          <p:cNvSpPr/>
          <p:nvPr userDrawn="1"/>
        </p:nvSpPr>
        <p:spPr>
          <a:xfrm flipH="1">
            <a:off x="11012467" y="2260600"/>
            <a:ext cx="1171294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9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ahom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image" Target="../media/image7.png"/><Relationship Id="rId26" Type="http://schemas.openxmlformats.org/officeDocument/2006/relationships/image" Target="../media/image15.png"/><Relationship Id="rId3" Type="http://schemas.openxmlformats.org/officeDocument/2006/relationships/tags" Target="../tags/tag65.xml"/><Relationship Id="rId21" Type="http://schemas.openxmlformats.org/officeDocument/2006/relationships/image" Target="../media/image10.sv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image" Target="../media/image6.svg"/><Relationship Id="rId25" Type="http://schemas.openxmlformats.org/officeDocument/2006/relationships/image" Target="../media/image14.svg"/><Relationship Id="rId2" Type="http://schemas.openxmlformats.org/officeDocument/2006/relationships/tags" Target="../tags/tag64.xml"/><Relationship Id="rId16" Type="http://schemas.openxmlformats.org/officeDocument/2006/relationships/image" Target="../media/image5.png"/><Relationship Id="rId20" Type="http://schemas.openxmlformats.org/officeDocument/2006/relationships/image" Target="../media/image9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image" Target="../media/image13.png"/><Relationship Id="rId5" Type="http://schemas.openxmlformats.org/officeDocument/2006/relationships/tags" Target="../tags/tag67.xml"/><Relationship Id="rId15" Type="http://schemas.openxmlformats.org/officeDocument/2006/relationships/notesSlide" Target="../notesSlides/notesSlide13.xml"/><Relationship Id="rId23" Type="http://schemas.openxmlformats.org/officeDocument/2006/relationships/image" Target="../media/image12.svg"/><Relationship Id="rId10" Type="http://schemas.openxmlformats.org/officeDocument/2006/relationships/tags" Target="../tags/tag72.xml"/><Relationship Id="rId19" Type="http://schemas.openxmlformats.org/officeDocument/2006/relationships/image" Target="../media/image8.sv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slideLayout" Target="../slideLayouts/slideLayout4.xml"/><Relationship Id="rId22" Type="http://schemas.openxmlformats.org/officeDocument/2006/relationships/image" Target="../media/image11.png"/><Relationship Id="rId27" Type="http://schemas.openxmlformats.org/officeDocument/2006/relationships/image" Target="../media/image1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3.svg"/><Relationship Id="rId5" Type="http://schemas.openxmlformats.org/officeDocument/2006/relationships/tags" Target="../tags/tag53.xml"/><Relationship Id="rId10" Type="http://schemas.openxmlformats.org/officeDocument/2006/relationships/image" Target="../media/image2.png"/><Relationship Id="rId4" Type="http://schemas.openxmlformats.org/officeDocument/2006/relationships/tags" Target="../tags/tag52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8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Oval 17">
            <a:extLst>
              <a:ext uri="{FF2B5EF4-FFF2-40B4-BE49-F238E27FC236}">
                <a16:creationId xmlns:a16="http://schemas.microsoft.com/office/drawing/2014/main" id="{9605EF1F-5D72-53B4-141B-70E5673926F7}"/>
              </a:ext>
            </a:extLst>
          </p:cNvPr>
          <p:cNvSpPr/>
          <p:nvPr/>
        </p:nvSpPr>
        <p:spPr>
          <a:xfrm>
            <a:off x="7329267" y="1523884"/>
            <a:ext cx="1896021" cy="1637504"/>
          </a:xfrm>
          <a:custGeom>
            <a:avLst/>
            <a:gdLst/>
            <a:ahLst/>
            <a:cxnLst/>
            <a:rect l="l" t="t" r="r" b="b"/>
            <a:pathLst>
              <a:path w="2505907" h="2164234">
                <a:moveTo>
                  <a:pt x="2501728" y="0"/>
                </a:moveTo>
                <a:lnTo>
                  <a:pt x="2505907" y="212"/>
                </a:lnTo>
                <a:lnTo>
                  <a:pt x="2505907" y="1459214"/>
                </a:lnTo>
                <a:cubicBezTo>
                  <a:pt x="1978887" y="1477002"/>
                  <a:pt x="1519120" y="1753805"/>
                  <a:pt x="1254596" y="2164234"/>
                </a:cubicBezTo>
                <a:lnTo>
                  <a:pt x="856130" y="1936482"/>
                </a:lnTo>
                <a:lnTo>
                  <a:pt x="499541" y="1732665"/>
                </a:lnTo>
                <a:lnTo>
                  <a:pt x="0" y="1447142"/>
                </a:lnTo>
                <a:cubicBezTo>
                  <a:pt x="497351" y="581525"/>
                  <a:pt x="1431629" y="0"/>
                  <a:pt x="2501728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4" name="Oval 17">
            <a:extLst>
              <a:ext uri="{FF2B5EF4-FFF2-40B4-BE49-F238E27FC236}">
                <a16:creationId xmlns:a16="http://schemas.microsoft.com/office/drawing/2014/main" id="{BCCAB122-02C0-5438-8080-364023EBB817}"/>
              </a:ext>
            </a:extLst>
          </p:cNvPr>
          <p:cNvSpPr/>
          <p:nvPr/>
        </p:nvSpPr>
        <p:spPr>
          <a:xfrm>
            <a:off x="7431579" y="1611690"/>
            <a:ext cx="1727918" cy="1507017"/>
          </a:xfrm>
          <a:custGeom>
            <a:avLst/>
            <a:gdLst>
              <a:gd name="connsiteX0" fmla="*/ 2330413 w 2330413"/>
              <a:gd name="connsiteY0" fmla="*/ 0 h 2010588"/>
              <a:gd name="connsiteX1" fmla="*/ 2330413 w 2330413"/>
              <a:gd name="connsiteY1" fmla="*/ 1345628 h 2010588"/>
              <a:gd name="connsiteX2" fmla="*/ 1152414 w 2330413"/>
              <a:gd name="connsiteY2" fmla="*/ 2010588 h 2010588"/>
              <a:gd name="connsiteX3" fmla="*/ 0 w 2330413"/>
              <a:gd name="connsiteY3" fmla="*/ 1345241 h 2010588"/>
              <a:gd name="connsiteX4" fmla="*/ 2330413 w 2330413"/>
              <a:gd name="connsiteY4" fmla="*/ 0 h 2010588"/>
              <a:gd name="connsiteX0" fmla="*/ 2330413 w 2330413"/>
              <a:gd name="connsiteY0" fmla="*/ 0 h 2010588"/>
              <a:gd name="connsiteX1" fmla="*/ 2330413 w 2330413"/>
              <a:gd name="connsiteY1" fmla="*/ 1345628 h 2010588"/>
              <a:gd name="connsiteX2" fmla="*/ 1152414 w 2330413"/>
              <a:gd name="connsiteY2" fmla="*/ 2010588 h 2010588"/>
              <a:gd name="connsiteX3" fmla="*/ 0 w 2330413"/>
              <a:gd name="connsiteY3" fmla="*/ 1345241 h 2010588"/>
              <a:gd name="connsiteX4" fmla="*/ 2330413 w 2330413"/>
              <a:gd name="connsiteY4" fmla="*/ 0 h 2010588"/>
              <a:gd name="connsiteX0" fmla="*/ 2330413 w 2330413"/>
              <a:gd name="connsiteY0" fmla="*/ 0 h 2010588"/>
              <a:gd name="connsiteX1" fmla="*/ 2330413 w 2330413"/>
              <a:gd name="connsiteY1" fmla="*/ 1345628 h 2010588"/>
              <a:gd name="connsiteX2" fmla="*/ 1152414 w 2330413"/>
              <a:gd name="connsiteY2" fmla="*/ 2010588 h 2010588"/>
              <a:gd name="connsiteX3" fmla="*/ 0 w 2330413"/>
              <a:gd name="connsiteY3" fmla="*/ 1345241 h 2010588"/>
              <a:gd name="connsiteX4" fmla="*/ 2330413 w 2330413"/>
              <a:gd name="connsiteY4" fmla="*/ 0 h 2010588"/>
              <a:gd name="connsiteX0" fmla="*/ 2330413 w 2330413"/>
              <a:gd name="connsiteY0" fmla="*/ 0 h 2010588"/>
              <a:gd name="connsiteX1" fmla="*/ 2330413 w 2330413"/>
              <a:gd name="connsiteY1" fmla="*/ 1345628 h 2010588"/>
              <a:gd name="connsiteX2" fmla="*/ 1152414 w 2330413"/>
              <a:gd name="connsiteY2" fmla="*/ 2010588 h 2010588"/>
              <a:gd name="connsiteX3" fmla="*/ 0 w 2330413"/>
              <a:gd name="connsiteY3" fmla="*/ 1345241 h 2010588"/>
              <a:gd name="connsiteX4" fmla="*/ 2330413 w 2330413"/>
              <a:gd name="connsiteY4" fmla="*/ 0 h 2010588"/>
              <a:gd name="connsiteX0" fmla="*/ 2330413 w 2330413"/>
              <a:gd name="connsiteY0" fmla="*/ 0 h 1982013"/>
              <a:gd name="connsiteX1" fmla="*/ 2330413 w 2330413"/>
              <a:gd name="connsiteY1" fmla="*/ 1345628 h 1982013"/>
              <a:gd name="connsiteX2" fmla="*/ 1166701 w 2330413"/>
              <a:gd name="connsiteY2" fmla="*/ 1982013 h 1982013"/>
              <a:gd name="connsiteX3" fmla="*/ 0 w 2330413"/>
              <a:gd name="connsiteY3" fmla="*/ 1345241 h 1982013"/>
              <a:gd name="connsiteX4" fmla="*/ 2330413 w 2330413"/>
              <a:gd name="connsiteY4" fmla="*/ 0 h 1982013"/>
              <a:gd name="connsiteX0" fmla="*/ 2330413 w 2330413"/>
              <a:gd name="connsiteY0" fmla="*/ 0 h 1982013"/>
              <a:gd name="connsiteX1" fmla="*/ 2311363 w 2330413"/>
              <a:gd name="connsiteY1" fmla="*/ 1340866 h 1982013"/>
              <a:gd name="connsiteX2" fmla="*/ 1166701 w 2330413"/>
              <a:gd name="connsiteY2" fmla="*/ 1982013 h 1982013"/>
              <a:gd name="connsiteX3" fmla="*/ 0 w 2330413"/>
              <a:gd name="connsiteY3" fmla="*/ 1345241 h 1982013"/>
              <a:gd name="connsiteX4" fmla="*/ 2330413 w 2330413"/>
              <a:gd name="connsiteY4" fmla="*/ 0 h 1982013"/>
              <a:gd name="connsiteX0" fmla="*/ 2330413 w 2330413"/>
              <a:gd name="connsiteY0" fmla="*/ 0 h 1982013"/>
              <a:gd name="connsiteX1" fmla="*/ 2311363 w 2330413"/>
              <a:gd name="connsiteY1" fmla="*/ 1340866 h 1982013"/>
              <a:gd name="connsiteX2" fmla="*/ 1166701 w 2330413"/>
              <a:gd name="connsiteY2" fmla="*/ 1982013 h 1982013"/>
              <a:gd name="connsiteX3" fmla="*/ 0 w 2330413"/>
              <a:gd name="connsiteY3" fmla="*/ 1345241 h 1982013"/>
              <a:gd name="connsiteX4" fmla="*/ 2330413 w 2330413"/>
              <a:gd name="connsiteY4" fmla="*/ 0 h 1982013"/>
              <a:gd name="connsiteX0" fmla="*/ 2330413 w 2330413"/>
              <a:gd name="connsiteY0" fmla="*/ 0 h 1982013"/>
              <a:gd name="connsiteX1" fmla="*/ 2311363 w 2330413"/>
              <a:gd name="connsiteY1" fmla="*/ 1340866 h 1982013"/>
              <a:gd name="connsiteX2" fmla="*/ 1166701 w 2330413"/>
              <a:gd name="connsiteY2" fmla="*/ 1982013 h 1982013"/>
              <a:gd name="connsiteX3" fmla="*/ 0 w 2330413"/>
              <a:gd name="connsiteY3" fmla="*/ 1345241 h 1982013"/>
              <a:gd name="connsiteX4" fmla="*/ 2330413 w 2330413"/>
              <a:gd name="connsiteY4" fmla="*/ 0 h 1982013"/>
              <a:gd name="connsiteX0" fmla="*/ 2301838 w 2311363"/>
              <a:gd name="connsiteY0" fmla="*/ 0 h 1982013"/>
              <a:gd name="connsiteX1" fmla="*/ 2311363 w 2311363"/>
              <a:gd name="connsiteY1" fmla="*/ 1340866 h 1982013"/>
              <a:gd name="connsiteX2" fmla="*/ 1166701 w 2311363"/>
              <a:gd name="connsiteY2" fmla="*/ 1982013 h 1982013"/>
              <a:gd name="connsiteX3" fmla="*/ 0 w 2311363"/>
              <a:gd name="connsiteY3" fmla="*/ 1345241 h 1982013"/>
              <a:gd name="connsiteX4" fmla="*/ 2301838 w 2311363"/>
              <a:gd name="connsiteY4" fmla="*/ 0 h 1982013"/>
              <a:gd name="connsiteX0" fmla="*/ 2292313 w 2301838"/>
              <a:gd name="connsiteY0" fmla="*/ 0 h 1982013"/>
              <a:gd name="connsiteX1" fmla="*/ 2301838 w 2301838"/>
              <a:gd name="connsiteY1" fmla="*/ 1340866 h 1982013"/>
              <a:gd name="connsiteX2" fmla="*/ 1157176 w 2301838"/>
              <a:gd name="connsiteY2" fmla="*/ 1982013 h 1982013"/>
              <a:gd name="connsiteX3" fmla="*/ 0 w 2301838"/>
              <a:gd name="connsiteY3" fmla="*/ 1321428 h 1982013"/>
              <a:gd name="connsiteX4" fmla="*/ 2292313 w 2301838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40866 h 1982013"/>
              <a:gd name="connsiteX2" fmla="*/ 1147651 w 2292313"/>
              <a:gd name="connsiteY2" fmla="*/ 1982013 h 1982013"/>
              <a:gd name="connsiteX3" fmla="*/ 0 w 2292313"/>
              <a:gd name="connsiteY3" fmla="*/ 1321428 h 1982013"/>
              <a:gd name="connsiteX4" fmla="*/ 2282788 w 2292313"/>
              <a:gd name="connsiteY4" fmla="*/ 0 h 1982013"/>
              <a:gd name="connsiteX0" fmla="*/ 2297076 w 2306601"/>
              <a:gd name="connsiteY0" fmla="*/ 0 h 1982013"/>
              <a:gd name="connsiteX1" fmla="*/ 2306601 w 2306601"/>
              <a:gd name="connsiteY1" fmla="*/ 1340866 h 1982013"/>
              <a:gd name="connsiteX2" fmla="*/ 1161939 w 2306601"/>
              <a:gd name="connsiteY2" fmla="*/ 1982013 h 1982013"/>
              <a:gd name="connsiteX3" fmla="*/ 0 w 2306601"/>
              <a:gd name="connsiteY3" fmla="*/ 1307141 h 1982013"/>
              <a:gd name="connsiteX4" fmla="*/ 2297076 w 2306601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40866 h 1982013"/>
              <a:gd name="connsiteX2" fmla="*/ 1147651 w 2292313"/>
              <a:gd name="connsiteY2" fmla="*/ 1982013 h 1982013"/>
              <a:gd name="connsiteX3" fmla="*/ 0 w 2292313"/>
              <a:gd name="connsiteY3" fmla="*/ 1311903 h 1982013"/>
              <a:gd name="connsiteX4" fmla="*/ 2282788 w 2292313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40866 h 1982013"/>
              <a:gd name="connsiteX2" fmla="*/ 1157176 w 2292313"/>
              <a:gd name="connsiteY2" fmla="*/ 1982013 h 1982013"/>
              <a:gd name="connsiteX3" fmla="*/ 0 w 2292313"/>
              <a:gd name="connsiteY3" fmla="*/ 1311903 h 1982013"/>
              <a:gd name="connsiteX4" fmla="*/ 2282788 w 2292313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40866 h 1982013"/>
              <a:gd name="connsiteX2" fmla="*/ 1157176 w 2292313"/>
              <a:gd name="connsiteY2" fmla="*/ 1982013 h 1982013"/>
              <a:gd name="connsiteX3" fmla="*/ 0 w 2292313"/>
              <a:gd name="connsiteY3" fmla="*/ 1311903 h 1982013"/>
              <a:gd name="connsiteX4" fmla="*/ 2282788 w 2292313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40866 h 1982013"/>
              <a:gd name="connsiteX2" fmla="*/ 1157176 w 2292313"/>
              <a:gd name="connsiteY2" fmla="*/ 1982013 h 1982013"/>
              <a:gd name="connsiteX3" fmla="*/ 0 w 2292313"/>
              <a:gd name="connsiteY3" fmla="*/ 1311903 h 1982013"/>
              <a:gd name="connsiteX4" fmla="*/ 2282788 w 2292313"/>
              <a:gd name="connsiteY4" fmla="*/ 0 h 1982013"/>
              <a:gd name="connsiteX0" fmla="*/ 2282788 w 2292313"/>
              <a:gd name="connsiteY0" fmla="*/ 0 h 1982013"/>
              <a:gd name="connsiteX1" fmla="*/ 2292313 w 2292313"/>
              <a:gd name="connsiteY1" fmla="*/ 1355153 h 1982013"/>
              <a:gd name="connsiteX2" fmla="*/ 1157176 w 2292313"/>
              <a:gd name="connsiteY2" fmla="*/ 1982013 h 1982013"/>
              <a:gd name="connsiteX3" fmla="*/ 0 w 2292313"/>
              <a:gd name="connsiteY3" fmla="*/ 1311903 h 1982013"/>
              <a:gd name="connsiteX4" fmla="*/ 2282788 w 2292313"/>
              <a:gd name="connsiteY4" fmla="*/ 0 h 1982013"/>
              <a:gd name="connsiteX0" fmla="*/ 2282788 w 2292313"/>
              <a:gd name="connsiteY0" fmla="*/ 0 h 1996300"/>
              <a:gd name="connsiteX1" fmla="*/ 2292313 w 2292313"/>
              <a:gd name="connsiteY1" fmla="*/ 1355153 h 1996300"/>
              <a:gd name="connsiteX2" fmla="*/ 1147651 w 2292313"/>
              <a:gd name="connsiteY2" fmla="*/ 1996300 h 1996300"/>
              <a:gd name="connsiteX3" fmla="*/ 0 w 2292313"/>
              <a:gd name="connsiteY3" fmla="*/ 1311903 h 1996300"/>
              <a:gd name="connsiteX4" fmla="*/ 2282788 w 2292313"/>
              <a:gd name="connsiteY4" fmla="*/ 0 h 1996300"/>
              <a:gd name="connsiteX0" fmla="*/ 2292313 w 2301838"/>
              <a:gd name="connsiteY0" fmla="*/ 0 h 1996300"/>
              <a:gd name="connsiteX1" fmla="*/ 2301838 w 2301838"/>
              <a:gd name="connsiteY1" fmla="*/ 1355153 h 1996300"/>
              <a:gd name="connsiteX2" fmla="*/ 1157176 w 2301838"/>
              <a:gd name="connsiteY2" fmla="*/ 1996300 h 1996300"/>
              <a:gd name="connsiteX3" fmla="*/ 0 w 2301838"/>
              <a:gd name="connsiteY3" fmla="*/ 1326191 h 1996300"/>
              <a:gd name="connsiteX4" fmla="*/ 2292313 w 2301838"/>
              <a:gd name="connsiteY4" fmla="*/ 0 h 1996300"/>
              <a:gd name="connsiteX0" fmla="*/ 2292313 w 2292758"/>
              <a:gd name="connsiteY0" fmla="*/ 0 h 1996300"/>
              <a:gd name="connsiteX1" fmla="*/ 2283731 w 2292758"/>
              <a:gd name="connsiteY1" fmla="*/ 1355153 h 1996300"/>
              <a:gd name="connsiteX2" fmla="*/ 1157176 w 2292758"/>
              <a:gd name="connsiteY2" fmla="*/ 1996300 h 1996300"/>
              <a:gd name="connsiteX3" fmla="*/ 0 w 2292758"/>
              <a:gd name="connsiteY3" fmla="*/ 1326191 h 1996300"/>
              <a:gd name="connsiteX4" fmla="*/ 2292313 w 2292758"/>
              <a:gd name="connsiteY4" fmla="*/ 0 h 1996300"/>
              <a:gd name="connsiteX0" fmla="*/ 2269680 w 2283731"/>
              <a:gd name="connsiteY0" fmla="*/ 0 h 1996300"/>
              <a:gd name="connsiteX1" fmla="*/ 2283731 w 2283731"/>
              <a:gd name="connsiteY1" fmla="*/ 1355153 h 1996300"/>
              <a:gd name="connsiteX2" fmla="*/ 1157176 w 2283731"/>
              <a:gd name="connsiteY2" fmla="*/ 1996300 h 1996300"/>
              <a:gd name="connsiteX3" fmla="*/ 0 w 2283731"/>
              <a:gd name="connsiteY3" fmla="*/ 1326191 h 1996300"/>
              <a:gd name="connsiteX4" fmla="*/ 2269680 w 2283731"/>
              <a:gd name="connsiteY4" fmla="*/ 0 h 1996300"/>
              <a:gd name="connsiteX0" fmla="*/ 2278733 w 2283731"/>
              <a:gd name="connsiteY0" fmla="*/ 0 h 1996300"/>
              <a:gd name="connsiteX1" fmla="*/ 2283731 w 2283731"/>
              <a:gd name="connsiteY1" fmla="*/ 1355153 h 1996300"/>
              <a:gd name="connsiteX2" fmla="*/ 1157176 w 2283731"/>
              <a:gd name="connsiteY2" fmla="*/ 1996300 h 1996300"/>
              <a:gd name="connsiteX3" fmla="*/ 0 w 2283731"/>
              <a:gd name="connsiteY3" fmla="*/ 1326191 h 1996300"/>
              <a:gd name="connsiteX4" fmla="*/ 2278733 w 2283731"/>
              <a:gd name="connsiteY4" fmla="*/ 0 h 1996300"/>
              <a:gd name="connsiteX0" fmla="*/ 2278733 w 2283731"/>
              <a:gd name="connsiteY0" fmla="*/ 0 h 1978193"/>
              <a:gd name="connsiteX1" fmla="*/ 2283731 w 2283731"/>
              <a:gd name="connsiteY1" fmla="*/ 1355153 h 1978193"/>
              <a:gd name="connsiteX2" fmla="*/ 1179810 w 2283731"/>
              <a:gd name="connsiteY2" fmla="*/ 1978193 h 1978193"/>
              <a:gd name="connsiteX3" fmla="*/ 0 w 2283731"/>
              <a:gd name="connsiteY3" fmla="*/ 1326191 h 1978193"/>
              <a:gd name="connsiteX4" fmla="*/ 2278733 w 2283731"/>
              <a:gd name="connsiteY4" fmla="*/ 0 h 1978193"/>
              <a:gd name="connsiteX0" fmla="*/ 2278733 w 2283731"/>
              <a:gd name="connsiteY0" fmla="*/ 0 h 1991773"/>
              <a:gd name="connsiteX1" fmla="*/ 2283731 w 2283731"/>
              <a:gd name="connsiteY1" fmla="*/ 1355153 h 1991773"/>
              <a:gd name="connsiteX2" fmla="*/ 1179810 w 2283731"/>
              <a:gd name="connsiteY2" fmla="*/ 1991773 h 1991773"/>
              <a:gd name="connsiteX3" fmla="*/ 0 w 2283731"/>
              <a:gd name="connsiteY3" fmla="*/ 1326191 h 1991773"/>
              <a:gd name="connsiteX4" fmla="*/ 2278733 w 2283731"/>
              <a:gd name="connsiteY4" fmla="*/ 0 h 1991773"/>
              <a:gd name="connsiteX0" fmla="*/ 2278733 w 2283731"/>
              <a:gd name="connsiteY0" fmla="*/ 0 h 1991773"/>
              <a:gd name="connsiteX1" fmla="*/ 2283731 w 2283731"/>
              <a:gd name="connsiteY1" fmla="*/ 1355153 h 1991773"/>
              <a:gd name="connsiteX2" fmla="*/ 1179810 w 2283731"/>
              <a:gd name="connsiteY2" fmla="*/ 1991773 h 1991773"/>
              <a:gd name="connsiteX3" fmla="*/ 0 w 2283731"/>
              <a:gd name="connsiteY3" fmla="*/ 1312610 h 1991773"/>
              <a:gd name="connsiteX4" fmla="*/ 2278733 w 2283731"/>
              <a:gd name="connsiteY4" fmla="*/ 0 h 1991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3731" h="1991773">
                <a:moveTo>
                  <a:pt x="2278733" y="0"/>
                </a:moveTo>
                <a:cubicBezTo>
                  <a:pt x="2281908" y="451718"/>
                  <a:pt x="2280556" y="903435"/>
                  <a:pt x="2283731" y="1355153"/>
                </a:cubicBezTo>
                <a:cubicBezTo>
                  <a:pt x="1735489" y="1416469"/>
                  <a:pt x="1337527" y="1759006"/>
                  <a:pt x="1179810" y="1991773"/>
                </a:cubicBezTo>
                <a:lnTo>
                  <a:pt x="0" y="1312610"/>
                </a:lnTo>
                <a:cubicBezTo>
                  <a:pt x="475368" y="517019"/>
                  <a:pt x="1288136" y="14810"/>
                  <a:pt x="2278733" y="0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6" name="Oval 2">
            <a:extLst>
              <a:ext uri="{FF2B5EF4-FFF2-40B4-BE49-F238E27FC236}">
                <a16:creationId xmlns:a16="http://schemas.microsoft.com/office/drawing/2014/main" id="{0786D613-2301-2582-8A1A-CE2406A95575}"/>
              </a:ext>
            </a:extLst>
          </p:cNvPr>
          <p:cNvSpPr/>
          <p:nvPr/>
        </p:nvSpPr>
        <p:spPr>
          <a:xfrm>
            <a:off x="9309470" y="1523884"/>
            <a:ext cx="1888451" cy="1621421"/>
          </a:xfrm>
          <a:custGeom>
            <a:avLst/>
            <a:gdLst/>
            <a:ahLst/>
            <a:cxnLst/>
            <a:rect l="l" t="t" r="r" b="b"/>
            <a:pathLst>
              <a:path w="2495902" h="2159136">
                <a:moveTo>
                  <a:pt x="2107" y="0"/>
                </a:moveTo>
                <a:cubicBezTo>
                  <a:pt x="1067639" y="1071"/>
                  <a:pt x="1998134" y="578783"/>
                  <a:pt x="2495902" y="1439337"/>
                </a:cubicBezTo>
                <a:lnTo>
                  <a:pt x="1246952" y="2159136"/>
                </a:lnTo>
                <a:cubicBezTo>
                  <a:pt x="978355" y="1758323"/>
                  <a:pt x="521683" y="1489789"/>
                  <a:pt x="0" y="1474936"/>
                </a:cubicBezTo>
                <a:cubicBezTo>
                  <a:pt x="289" y="1324012"/>
                  <a:pt x="543" y="1173076"/>
                  <a:pt x="756" y="1022276"/>
                </a:cubicBezTo>
                <a:cubicBezTo>
                  <a:pt x="1015" y="852989"/>
                  <a:pt x="1099" y="762801"/>
                  <a:pt x="1325" y="592421"/>
                </a:cubicBezTo>
                <a:cubicBezTo>
                  <a:pt x="1944" y="394361"/>
                  <a:pt x="2107" y="196775"/>
                  <a:pt x="2107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7" name="Oval 2">
            <a:extLst>
              <a:ext uri="{FF2B5EF4-FFF2-40B4-BE49-F238E27FC236}">
                <a16:creationId xmlns:a16="http://schemas.microsoft.com/office/drawing/2014/main" id="{C14E659C-1A86-C8EA-0E61-183D17B70CB5}"/>
              </a:ext>
            </a:extLst>
          </p:cNvPr>
          <p:cNvSpPr/>
          <p:nvPr/>
        </p:nvSpPr>
        <p:spPr>
          <a:xfrm>
            <a:off x="9367450" y="1611690"/>
            <a:ext cx="1723011" cy="1482732"/>
          </a:xfrm>
          <a:custGeom>
            <a:avLst/>
            <a:gdLst>
              <a:gd name="connsiteX0" fmla="*/ 0 w 2310583"/>
              <a:gd name="connsiteY0" fmla="*/ 0 h 1975455"/>
              <a:gd name="connsiteX1" fmla="*/ 2310583 w 2310583"/>
              <a:gd name="connsiteY1" fmla="*/ 1334030 h 1975455"/>
              <a:gd name="connsiteX2" fmla="*/ 1144072 w 2310583"/>
              <a:gd name="connsiteY2" fmla="*/ 1975455 h 1975455"/>
              <a:gd name="connsiteX3" fmla="*/ 0 w 2310583"/>
              <a:gd name="connsiteY3" fmla="*/ 1361355 h 1975455"/>
              <a:gd name="connsiteX4" fmla="*/ 0 w 2310583"/>
              <a:gd name="connsiteY4" fmla="*/ 0 h 1975455"/>
              <a:gd name="connsiteX0" fmla="*/ 0 w 2296296"/>
              <a:gd name="connsiteY0" fmla="*/ 0 h 1975455"/>
              <a:gd name="connsiteX1" fmla="*/ 2296296 w 2296296"/>
              <a:gd name="connsiteY1" fmla="*/ 1314980 h 1975455"/>
              <a:gd name="connsiteX2" fmla="*/ 1144072 w 2296296"/>
              <a:gd name="connsiteY2" fmla="*/ 1975455 h 1975455"/>
              <a:gd name="connsiteX3" fmla="*/ 0 w 2296296"/>
              <a:gd name="connsiteY3" fmla="*/ 1361355 h 1975455"/>
              <a:gd name="connsiteX4" fmla="*/ 0 w 2296296"/>
              <a:gd name="connsiteY4" fmla="*/ 0 h 1975455"/>
              <a:gd name="connsiteX0" fmla="*/ 0 w 2296296"/>
              <a:gd name="connsiteY0" fmla="*/ 0 h 1975455"/>
              <a:gd name="connsiteX1" fmla="*/ 2296296 w 2296296"/>
              <a:gd name="connsiteY1" fmla="*/ 1314980 h 1975455"/>
              <a:gd name="connsiteX2" fmla="*/ 1153597 w 2296296"/>
              <a:gd name="connsiteY2" fmla="*/ 1975455 h 1975455"/>
              <a:gd name="connsiteX3" fmla="*/ 0 w 2296296"/>
              <a:gd name="connsiteY3" fmla="*/ 1361355 h 1975455"/>
              <a:gd name="connsiteX4" fmla="*/ 0 w 2296296"/>
              <a:gd name="connsiteY4" fmla="*/ 0 h 1975455"/>
              <a:gd name="connsiteX0" fmla="*/ 0 w 2296296"/>
              <a:gd name="connsiteY0" fmla="*/ 0 h 1975455"/>
              <a:gd name="connsiteX1" fmla="*/ 2296296 w 2296296"/>
              <a:gd name="connsiteY1" fmla="*/ 1314980 h 1975455"/>
              <a:gd name="connsiteX2" fmla="*/ 1153597 w 2296296"/>
              <a:gd name="connsiteY2" fmla="*/ 1975455 h 1975455"/>
              <a:gd name="connsiteX3" fmla="*/ 19050 w 2296296"/>
              <a:gd name="connsiteY3" fmla="*/ 1370880 h 1975455"/>
              <a:gd name="connsiteX4" fmla="*/ 0 w 2296296"/>
              <a:gd name="connsiteY4" fmla="*/ 0 h 1975455"/>
              <a:gd name="connsiteX0" fmla="*/ 4762 w 2277246"/>
              <a:gd name="connsiteY0" fmla="*/ 0 h 1980217"/>
              <a:gd name="connsiteX1" fmla="*/ 2277246 w 2277246"/>
              <a:gd name="connsiteY1" fmla="*/ 1319742 h 1980217"/>
              <a:gd name="connsiteX2" fmla="*/ 1134547 w 2277246"/>
              <a:gd name="connsiteY2" fmla="*/ 1980217 h 1980217"/>
              <a:gd name="connsiteX3" fmla="*/ 0 w 2277246"/>
              <a:gd name="connsiteY3" fmla="*/ 1375642 h 1980217"/>
              <a:gd name="connsiteX4" fmla="*/ 4762 w 2277246"/>
              <a:gd name="connsiteY4" fmla="*/ 0 h 1980217"/>
              <a:gd name="connsiteX0" fmla="*/ 19050 w 2277246"/>
              <a:gd name="connsiteY0" fmla="*/ 0 h 1984980"/>
              <a:gd name="connsiteX1" fmla="*/ 2277246 w 2277246"/>
              <a:gd name="connsiteY1" fmla="*/ 1324505 h 1984980"/>
              <a:gd name="connsiteX2" fmla="*/ 1134547 w 2277246"/>
              <a:gd name="connsiteY2" fmla="*/ 1984980 h 1984980"/>
              <a:gd name="connsiteX3" fmla="*/ 0 w 2277246"/>
              <a:gd name="connsiteY3" fmla="*/ 1380405 h 1984980"/>
              <a:gd name="connsiteX4" fmla="*/ 19050 w 2277246"/>
              <a:gd name="connsiteY4" fmla="*/ 0 h 1984980"/>
              <a:gd name="connsiteX0" fmla="*/ 19050 w 2277246"/>
              <a:gd name="connsiteY0" fmla="*/ 0 h 1984980"/>
              <a:gd name="connsiteX1" fmla="*/ 2277246 w 2277246"/>
              <a:gd name="connsiteY1" fmla="*/ 1324505 h 1984980"/>
              <a:gd name="connsiteX2" fmla="*/ 1134547 w 2277246"/>
              <a:gd name="connsiteY2" fmla="*/ 1984980 h 1984980"/>
              <a:gd name="connsiteX3" fmla="*/ 0 w 2277246"/>
              <a:gd name="connsiteY3" fmla="*/ 1370880 h 1984980"/>
              <a:gd name="connsiteX4" fmla="*/ 19050 w 2277246"/>
              <a:gd name="connsiteY4" fmla="*/ 0 h 1984980"/>
              <a:gd name="connsiteX0" fmla="*/ 14288 w 2277246"/>
              <a:gd name="connsiteY0" fmla="*/ 0 h 1989743"/>
              <a:gd name="connsiteX1" fmla="*/ 2277246 w 2277246"/>
              <a:gd name="connsiteY1" fmla="*/ 1329268 h 1989743"/>
              <a:gd name="connsiteX2" fmla="*/ 1134547 w 2277246"/>
              <a:gd name="connsiteY2" fmla="*/ 1989743 h 1989743"/>
              <a:gd name="connsiteX3" fmla="*/ 0 w 2277246"/>
              <a:gd name="connsiteY3" fmla="*/ 1375643 h 1989743"/>
              <a:gd name="connsiteX4" fmla="*/ 14288 w 2277246"/>
              <a:gd name="connsiteY4" fmla="*/ 0 h 1989743"/>
              <a:gd name="connsiteX0" fmla="*/ 14288 w 2277246"/>
              <a:gd name="connsiteY0" fmla="*/ 0 h 1989743"/>
              <a:gd name="connsiteX1" fmla="*/ 2277246 w 2277246"/>
              <a:gd name="connsiteY1" fmla="*/ 1329268 h 1989743"/>
              <a:gd name="connsiteX2" fmla="*/ 1120259 w 2277246"/>
              <a:gd name="connsiteY2" fmla="*/ 1989743 h 1989743"/>
              <a:gd name="connsiteX3" fmla="*/ 0 w 2277246"/>
              <a:gd name="connsiteY3" fmla="*/ 1375643 h 1989743"/>
              <a:gd name="connsiteX4" fmla="*/ 14288 w 2277246"/>
              <a:gd name="connsiteY4" fmla="*/ 0 h 1989743"/>
              <a:gd name="connsiteX0" fmla="*/ 14288 w 2277246"/>
              <a:gd name="connsiteY0" fmla="*/ 0 h 1989743"/>
              <a:gd name="connsiteX1" fmla="*/ 2277246 w 2277246"/>
              <a:gd name="connsiteY1" fmla="*/ 1329268 h 1989743"/>
              <a:gd name="connsiteX2" fmla="*/ 1120259 w 2277246"/>
              <a:gd name="connsiteY2" fmla="*/ 1989743 h 1989743"/>
              <a:gd name="connsiteX3" fmla="*/ 0 w 2277246"/>
              <a:gd name="connsiteY3" fmla="*/ 1375643 h 1989743"/>
              <a:gd name="connsiteX4" fmla="*/ 14288 w 2277246"/>
              <a:gd name="connsiteY4" fmla="*/ 0 h 1989743"/>
              <a:gd name="connsiteX0" fmla="*/ 14288 w 2277246"/>
              <a:gd name="connsiteY0" fmla="*/ 0 h 1989743"/>
              <a:gd name="connsiteX1" fmla="*/ 2277246 w 2277246"/>
              <a:gd name="connsiteY1" fmla="*/ 1329268 h 1989743"/>
              <a:gd name="connsiteX2" fmla="*/ 1120259 w 2277246"/>
              <a:gd name="connsiteY2" fmla="*/ 1989743 h 1989743"/>
              <a:gd name="connsiteX3" fmla="*/ 0 w 2277246"/>
              <a:gd name="connsiteY3" fmla="*/ 1375643 h 1989743"/>
              <a:gd name="connsiteX4" fmla="*/ 14288 w 2277246"/>
              <a:gd name="connsiteY4" fmla="*/ 0 h 1989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7246" h="1989743">
                <a:moveTo>
                  <a:pt x="14288" y="0"/>
                </a:moveTo>
                <a:cubicBezTo>
                  <a:pt x="994912" y="18966"/>
                  <a:pt x="1802859" y="543026"/>
                  <a:pt x="2277246" y="1329268"/>
                </a:cubicBezTo>
                <a:lnTo>
                  <a:pt x="1120259" y="1989743"/>
                </a:lnTo>
                <a:cubicBezTo>
                  <a:pt x="859344" y="1646389"/>
                  <a:pt x="478579" y="1420695"/>
                  <a:pt x="0" y="1375643"/>
                </a:cubicBezTo>
                <a:cubicBezTo>
                  <a:pt x="1587" y="917096"/>
                  <a:pt x="12701" y="458547"/>
                  <a:pt x="14288" y="0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8" name="Oval 5">
            <a:extLst>
              <a:ext uri="{FF2B5EF4-FFF2-40B4-BE49-F238E27FC236}">
                <a16:creationId xmlns:a16="http://schemas.microsoft.com/office/drawing/2014/main" id="{4C3FA4FC-13AA-3CF2-36C4-55ABD15C06E2}"/>
              </a:ext>
            </a:extLst>
          </p:cNvPr>
          <p:cNvSpPr/>
          <p:nvPr/>
        </p:nvSpPr>
        <p:spPr>
          <a:xfrm>
            <a:off x="10289685" y="2669215"/>
            <a:ext cx="1230530" cy="2195771"/>
          </a:xfrm>
          <a:custGeom>
            <a:avLst/>
            <a:gdLst/>
            <a:ahLst/>
            <a:cxnLst/>
            <a:rect l="l" t="t" r="r" b="b"/>
            <a:pathLst>
              <a:path w="1626350" h="2902074">
                <a:moveTo>
                  <a:pt x="1227897" y="0"/>
                </a:moveTo>
                <a:cubicBezTo>
                  <a:pt x="1477313" y="424433"/>
                  <a:pt x="1626350" y="930541"/>
                  <a:pt x="1626350" y="1458261"/>
                </a:cubicBezTo>
                <a:cubicBezTo>
                  <a:pt x="1626350" y="1984715"/>
                  <a:pt x="1485604" y="2478295"/>
                  <a:pt x="1237349" y="2902074"/>
                </a:cubicBezTo>
                <a:lnTo>
                  <a:pt x="642002" y="2555751"/>
                </a:lnTo>
                <a:lnTo>
                  <a:pt x="250330" y="2327909"/>
                </a:lnTo>
                <a:lnTo>
                  <a:pt x="19640" y="2193713"/>
                </a:lnTo>
                <a:cubicBezTo>
                  <a:pt x="139604" y="1977605"/>
                  <a:pt x="207735" y="1729857"/>
                  <a:pt x="207735" y="1466507"/>
                </a:cubicBezTo>
                <a:cubicBezTo>
                  <a:pt x="207735" y="1189911"/>
                  <a:pt x="132577" y="930525"/>
                  <a:pt x="0" y="707607"/>
                </a:cubicBezTo>
                <a:lnTo>
                  <a:pt x="372243" y="493093"/>
                </a:lnTo>
                <a:lnTo>
                  <a:pt x="759088" y="270164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9" name="Oval 5">
            <a:extLst>
              <a:ext uri="{FF2B5EF4-FFF2-40B4-BE49-F238E27FC236}">
                <a16:creationId xmlns:a16="http://schemas.microsoft.com/office/drawing/2014/main" id="{46FACE6B-091C-771A-F5CA-BE859DFD4197}"/>
              </a:ext>
            </a:extLst>
          </p:cNvPr>
          <p:cNvSpPr/>
          <p:nvPr/>
        </p:nvSpPr>
        <p:spPr>
          <a:xfrm>
            <a:off x="10319492" y="2766165"/>
            <a:ext cx="1114092" cy="1994284"/>
          </a:xfrm>
          <a:custGeom>
            <a:avLst/>
            <a:gdLst>
              <a:gd name="connsiteX0" fmla="*/ 1117743 w 1472454"/>
              <a:gd name="connsiteY0" fmla="*/ 0 h 2683402"/>
              <a:gd name="connsiteX1" fmla="*/ 1472454 w 1472454"/>
              <a:gd name="connsiteY1" fmla="*/ 1349176 h 2683402"/>
              <a:gd name="connsiteX2" fmla="*/ 1127300 w 1472454"/>
              <a:gd name="connsiteY2" fmla="*/ 2683402 h 2683402"/>
              <a:gd name="connsiteX3" fmla="*/ 4620 w 1472454"/>
              <a:gd name="connsiteY3" fmla="*/ 2035222 h 2683402"/>
              <a:gd name="connsiteX4" fmla="*/ 168341 w 1472454"/>
              <a:gd name="connsiteY4" fmla="*/ 1357421 h 2683402"/>
              <a:gd name="connsiteX5" fmla="*/ 0 w 1472454"/>
              <a:gd name="connsiteY5" fmla="*/ 669881 h 2683402"/>
              <a:gd name="connsiteX6" fmla="*/ 1117743 w 1472454"/>
              <a:gd name="connsiteY6" fmla="*/ 0 h 2683402"/>
              <a:gd name="connsiteX0" fmla="*/ 1141556 w 1472491"/>
              <a:gd name="connsiteY0" fmla="*/ 0 h 2664352"/>
              <a:gd name="connsiteX1" fmla="*/ 1472454 w 1472491"/>
              <a:gd name="connsiteY1" fmla="*/ 1330126 h 2664352"/>
              <a:gd name="connsiteX2" fmla="*/ 1127300 w 1472491"/>
              <a:gd name="connsiteY2" fmla="*/ 2664352 h 2664352"/>
              <a:gd name="connsiteX3" fmla="*/ 4620 w 1472491"/>
              <a:gd name="connsiteY3" fmla="*/ 2016172 h 2664352"/>
              <a:gd name="connsiteX4" fmla="*/ 168341 w 1472491"/>
              <a:gd name="connsiteY4" fmla="*/ 1338371 h 2664352"/>
              <a:gd name="connsiteX5" fmla="*/ 0 w 1472491"/>
              <a:gd name="connsiteY5" fmla="*/ 650831 h 2664352"/>
              <a:gd name="connsiteX6" fmla="*/ 1141556 w 1472491"/>
              <a:gd name="connsiteY6" fmla="*/ 0 h 2664352"/>
              <a:gd name="connsiteX0" fmla="*/ 1141556 w 1472491"/>
              <a:gd name="connsiteY0" fmla="*/ 0 h 2664352"/>
              <a:gd name="connsiteX1" fmla="*/ 1472454 w 1472491"/>
              <a:gd name="connsiteY1" fmla="*/ 1330126 h 2664352"/>
              <a:gd name="connsiteX2" fmla="*/ 1127300 w 1472491"/>
              <a:gd name="connsiteY2" fmla="*/ 2664352 h 2664352"/>
              <a:gd name="connsiteX3" fmla="*/ 18907 w 1472491"/>
              <a:gd name="connsiteY3" fmla="*/ 1982835 h 2664352"/>
              <a:gd name="connsiteX4" fmla="*/ 168341 w 1472491"/>
              <a:gd name="connsiteY4" fmla="*/ 1338371 h 2664352"/>
              <a:gd name="connsiteX5" fmla="*/ 0 w 1472491"/>
              <a:gd name="connsiteY5" fmla="*/ 650831 h 2664352"/>
              <a:gd name="connsiteX6" fmla="*/ 1141556 w 1472491"/>
              <a:gd name="connsiteY6" fmla="*/ 0 h 2664352"/>
              <a:gd name="connsiteX0" fmla="*/ 1141556 w 1472458"/>
              <a:gd name="connsiteY0" fmla="*/ 0 h 2635777"/>
              <a:gd name="connsiteX1" fmla="*/ 1472454 w 1472458"/>
              <a:gd name="connsiteY1" fmla="*/ 1330126 h 2635777"/>
              <a:gd name="connsiteX2" fmla="*/ 1146350 w 1472458"/>
              <a:gd name="connsiteY2" fmla="*/ 2635777 h 2635777"/>
              <a:gd name="connsiteX3" fmla="*/ 18907 w 1472458"/>
              <a:gd name="connsiteY3" fmla="*/ 1982835 h 2635777"/>
              <a:gd name="connsiteX4" fmla="*/ 168341 w 1472458"/>
              <a:gd name="connsiteY4" fmla="*/ 1338371 h 2635777"/>
              <a:gd name="connsiteX5" fmla="*/ 0 w 1472458"/>
              <a:gd name="connsiteY5" fmla="*/ 650831 h 2635777"/>
              <a:gd name="connsiteX6" fmla="*/ 1141556 w 1472458"/>
              <a:gd name="connsiteY6" fmla="*/ 0 h 263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2458" h="2635777">
                <a:moveTo>
                  <a:pt x="1141556" y="0"/>
                </a:moveTo>
                <a:cubicBezTo>
                  <a:pt x="1364668" y="396325"/>
                  <a:pt x="1471655" y="890830"/>
                  <a:pt x="1472454" y="1330126"/>
                </a:cubicBezTo>
                <a:cubicBezTo>
                  <a:pt x="1473253" y="1769422"/>
                  <a:pt x="1367478" y="2241204"/>
                  <a:pt x="1146350" y="2635777"/>
                </a:cubicBezTo>
                <a:lnTo>
                  <a:pt x="18907" y="1982835"/>
                </a:lnTo>
                <a:cubicBezTo>
                  <a:pt x="124238" y="1779257"/>
                  <a:pt x="168341" y="1582168"/>
                  <a:pt x="168341" y="1338371"/>
                </a:cubicBezTo>
                <a:cubicBezTo>
                  <a:pt x="168341" y="1083189"/>
                  <a:pt x="113895" y="861705"/>
                  <a:pt x="0" y="650831"/>
                </a:cubicBezTo>
                <a:lnTo>
                  <a:pt x="1141556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5282160C-E6FE-B0EF-9EF5-FB4A8871A09A}"/>
              </a:ext>
            </a:extLst>
          </p:cNvPr>
          <p:cNvSpPr/>
          <p:nvPr/>
        </p:nvSpPr>
        <p:spPr>
          <a:xfrm>
            <a:off x="9306618" y="4399079"/>
            <a:ext cx="1899210" cy="1646747"/>
          </a:xfrm>
          <a:custGeom>
            <a:avLst/>
            <a:gdLst/>
            <a:ahLst/>
            <a:cxnLst/>
            <a:rect l="l" t="t" r="r" b="b"/>
            <a:pathLst>
              <a:path w="2510123" h="2176451">
                <a:moveTo>
                  <a:pt x="1261552" y="0"/>
                </a:moveTo>
                <a:lnTo>
                  <a:pt x="1509996" y="143960"/>
                </a:lnTo>
                <a:lnTo>
                  <a:pt x="1923464" y="383544"/>
                </a:lnTo>
                <a:lnTo>
                  <a:pt x="2510123" y="723481"/>
                </a:lnTo>
                <a:cubicBezTo>
                  <a:pt x="2012157" y="1583166"/>
                  <a:pt x="1070742" y="2175381"/>
                  <a:pt x="5876" y="2176451"/>
                </a:cubicBezTo>
                <a:lnTo>
                  <a:pt x="4300" y="1536109"/>
                </a:lnTo>
                <a:cubicBezTo>
                  <a:pt x="3718" y="1362261"/>
                  <a:pt x="3223" y="1294687"/>
                  <a:pt x="2383" y="1133366"/>
                </a:cubicBezTo>
                <a:lnTo>
                  <a:pt x="0" y="701867"/>
                </a:lnTo>
                <a:cubicBezTo>
                  <a:pt x="530664" y="687903"/>
                  <a:pt x="994451" y="411586"/>
                  <a:pt x="1261552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3" name="Oval 8">
            <a:extLst>
              <a:ext uri="{FF2B5EF4-FFF2-40B4-BE49-F238E27FC236}">
                <a16:creationId xmlns:a16="http://schemas.microsoft.com/office/drawing/2014/main" id="{FF2D8E15-C287-7B67-D115-76CE98F244D8}"/>
              </a:ext>
            </a:extLst>
          </p:cNvPr>
          <p:cNvSpPr/>
          <p:nvPr/>
        </p:nvSpPr>
        <p:spPr>
          <a:xfrm>
            <a:off x="9377108" y="4445143"/>
            <a:ext cx="1725053" cy="1519832"/>
          </a:xfrm>
          <a:custGeom>
            <a:avLst/>
            <a:gdLst>
              <a:gd name="connsiteX0" fmla="*/ 1161282 w 2322807"/>
              <a:gd name="connsiteY0" fmla="*/ 0 h 1999186"/>
              <a:gd name="connsiteX1" fmla="*/ 2322807 w 2322807"/>
              <a:gd name="connsiteY1" fmla="*/ 650822 h 1999186"/>
              <a:gd name="connsiteX2" fmla="*/ 0 w 2322807"/>
              <a:gd name="connsiteY2" fmla="*/ 1999186 h 1999186"/>
              <a:gd name="connsiteX3" fmla="*/ 0 w 2322807"/>
              <a:gd name="connsiteY3" fmla="*/ 638025 h 1999186"/>
              <a:gd name="connsiteX4" fmla="*/ 1161282 w 2322807"/>
              <a:gd name="connsiteY4" fmla="*/ 0 h 1999186"/>
              <a:gd name="connsiteX0" fmla="*/ 1161282 w 2313282"/>
              <a:gd name="connsiteY0" fmla="*/ 0 h 1999186"/>
              <a:gd name="connsiteX1" fmla="*/ 2313282 w 2313282"/>
              <a:gd name="connsiteY1" fmla="*/ 669872 h 1999186"/>
              <a:gd name="connsiteX2" fmla="*/ 0 w 2313282"/>
              <a:gd name="connsiteY2" fmla="*/ 1999186 h 1999186"/>
              <a:gd name="connsiteX3" fmla="*/ 0 w 2313282"/>
              <a:gd name="connsiteY3" fmla="*/ 638025 h 1999186"/>
              <a:gd name="connsiteX4" fmla="*/ 1161282 w 2313282"/>
              <a:gd name="connsiteY4" fmla="*/ 0 h 1999186"/>
              <a:gd name="connsiteX0" fmla="*/ 1161282 w 2313282"/>
              <a:gd name="connsiteY0" fmla="*/ 0 h 1999186"/>
              <a:gd name="connsiteX1" fmla="*/ 2313282 w 2313282"/>
              <a:gd name="connsiteY1" fmla="*/ 669872 h 1999186"/>
              <a:gd name="connsiteX2" fmla="*/ 0 w 2313282"/>
              <a:gd name="connsiteY2" fmla="*/ 1999186 h 1999186"/>
              <a:gd name="connsiteX3" fmla="*/ 23812 w 2313282"/>
              <a:gd name="connsiteY3" fmla="*/ 642787 h 1999186"/>
              <a:gd name="connsiteX4" fmla="*/ 1161282 w 2313282"/>
              <a:gd name="connsiteY4" fmla="*/ 0 h 1999186"/>
              <a:gd name="connsiteX0" fmla="*/ 1137470 w 2289470"/>
              <a:gd name="connsiteY0" fmla="*/ 0 h 2003949"/>
              <a:gd name="connsiteX1" fmla="*/ 2289470 w 2289470"/>
              <a:gd name="connsiteY1" fmla="*/ 669872 h 2003949"/>
              <a:gd name="connsiteX2" fmla="*/ 0 w 2289470"/>
              <a:gd name="connsiteY2" fmla="*/ 2003949 h 2003949"/>
              <a:gd name="connsiteX3" fmla="*/ 0 w 2289470"/>
              <a:gd name="connsiteY3" fmla="*/ 642787 h 2003949"/>
              <a:gd name="connsiteX4" fmla="*/ 1137470 w 2289470"/>
              <a:gd name="connsiteY4" fmla="*/ 0 h 2003949"/>
              <a:gd name="connsiteX0" fmla="*/ 1137470 w 2289470"/>
              <a:gd name="connsiteY0" fmla="*/ 0 h 2008712"/>
              <a:gd name="connsiteX1" fmla="*/ 2289470 w 2289470"/>
              <a:gd name="connsiteY1" fmla="*/ 669872 h 2008712"/>
              <a:gd name="connsiteX2" fmla="*/ 9525 w 2289470"/>
              <a:gd name="connsiteY2" fmla="*/ 2008712 h 2008712"/>
              <a:gd name="connsiteX3" fmla="*/ 0 w 2289470"/>
              <a:gd name="connsiteY3" fmla="*/ 642787 h 2008712"/>
              <a:gd name="connsiteX4" fmla="*/ 1137470 w 2289470"/>
              <a:gd name="connsiteY4" fmla="*/ 0 h 2008712"/>
              <a:gd name="connsiteX0" fmla="*/ 1127945 w 2279945"/>
              <a:gd name="connsiteY0" fmla="*/ 0 h 2008712"/>
              <a:gd name="connsiteX1" fmla="*/ 2279945 w 2279945"/>
              <a:gd name="connsiteY1" fmla="*/ 669872 h 2008712"/>
              <a:gd name="connsiteX2" fmla="*/ 0 w 2279945"/>
              <a:gd name="connsiteY2" fmla="*/ 2008712 h 2008712"/>
              <a:gd name="connsiteX3" fmla="*/ 0 w 2279945"/>
              <a:gd name="connsiteY3" fmla="*/ 638025 h 2008712"/>
              <a:gd name="connsiteX4" fmla="*/ 1127945 w 2279945"/>
              <a:gd name="connsiteY4" fmla="*/ 0 h 2008712"/>
              <a:gd name="connsiteX0" fmla="*/ 1127945 w 2279945"/>
              <a:gd name="connsiteY0" fmla="*/ 0 h 2008712"/>
              <a:gd name="connsiteX1" fmla="*/ 2279945 w 2279945"/>
              <a:gd name="connsiteY1" fmla="*/ 669872 h 2008712"/>
              <a:gd name="connsiteX2" fmla="*/ 0 w 2279945"/>
              <a:gd name="connsiteY2" fmla="*/ 2008712 h 2008712"/>
              <a:gd name="connsiteX3" fmla="*/ 0 w 2279945"/>
              <a:gd name="connsiteY3" fmla="*/ 638025 h 2008712"/>
              <a:gd name="connsiteX4" fmla="*/ 1127945 w 2279945"/>
              <a:gd name="connsiteY4" fmla="*/ 0 h 2008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9945" h="2008712">
                <a:moveTo>
                  <a:pt x="1127945" y="0"/>
                </a:moveTo>
                <a:lnTo>
                  <a:pt x="2279945" y="669872"/>
                </a:lnTo>
                <a:cubicBezTo>
                  <a:pt x="1804909" y="1456867"/>
                  <a:pt x="981490" y="1989781"/>
                  <a:pt x="0" y="2008712"/>
                </a:cubicBezTo>
                <a:lnTo>
                  <a:pt x="0" y="638025"/>
                </a:lnTo>
                <a:cubicBezTo>
                  <a:pt x="485649" y="583459"/>
                  <a:pt x="867087" y="370493"/>
                  <a:pt x="1127945" y="0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5" name="Oval 11">
            <a:extLst>
              <a:ext uri="{FF2B5EF4-FFF2-40B4-BE49-F238E27FC236}">
                <a16:creationId xmlns:a16="http://schemas.microsoft.com/office/drawing/2014/main" id="{0136325E-F26E-633A-F444-999ED5ADF4E5}"/>
              </a:ext>
            </a:extLst>
          </p:cNvPr>
          <p:cNvSpPr/>
          <p:nvPr/>
        </p:nvSpPr>
        <p:spPr>
          <a:xfrm>
            <a:off x="7312981" y="4387421"/>
            <a:ext cx="1899954" cy="1658530"/>
          </a:xfrm>
          <a:custGeom>
            <a:avLst/>
            <a:gdLst/>
            <a:ahLst/>
            <a:cxnLst/>
            <a:rect l="l" t="t" r="r" b="b"/>
            <a:pathLst>
              <a:path w="2511107" h="2192023">
                <a:moveTo>
                  <a:pt x="1268913" y="0"/>
                </a:moveTo>
                <a:cubicBezTo>
                  <a:pt x="1529018" y="412090"/>
                  <a:pt x="1984877" y="692196"/>
                  <a:pt x="2509179" y="715747"/>
                </a:cubicBezTo>
                <a:lnTo>
                  <a:pt x="2509741" y="1145483"/>
                </a:lnTo>
                <a:cubicBezTo>
                  <a:pt x="2509952" y="1307252"/>
                  <a:pt x="2510047" y="1379886"/>
                  <a:pt x="2510274" y="1554273"/>
                </a:cubicBezTo>
                <a:cubicBezTo>
                  <a:pt x="2510552" y="1766787"/>
                  <a:pt x="2510829" y="1979299"/>
                  <a:pt x="2511107" y="2191813"/>
                </a:cubicBezTo>
                <a:cubicBezTo>
                  <a:pt x="2509715" y="2192022"/>
                  <a:pt x="2508321" y="2192023"/>
                  <a:pt x="2506928" y="2192023"/>
                </a:cubicBezTo>
                <a:cubicBezTo>
                  <a:pt x="1435869" y="2192023"/>
                  <a:pt x="497069" y="1605649"/>
                  <a:pt x="0" y="738783"/>
                </a:cubicBezTo>
                <a:lnTo>
                  <a:pt x="557410" y="414250"/>
                </a:lnTo>
                <a:lnTo>
                  <a:pt x="905663" y="211491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BF28668C-CC51-4971-AD34-13B9D51F5CD4}"/>
              </a:ext>
            </a:extLst>
          </p:cNvPr>
          <p:cNvSpPr/>
          <p:nvPr/>
        </p:nvSpPr>
        <p:spPr>
          <a:xfrm>
            <a:off x="7422307" y="4435833"/>
            <a:ext cx="1730179" cy="1533080"/>
          </a:xfrm>
          <a:custGeom>
            <a:avLst/>
            <a:gdLst>
              <a:gd name="connsiteX0" fmla="*/ 1182943 w 2329583"/>
              <a:gd name="connsiteY0" fmla="*/ 0 h 2011932"/>
              <a:gd name="connsiteX1" fmla="*/ 2329583 w 2329583"/>
              <a:gd name="connsiteY1" fmla="*/ 649321 h 2011932"/>
              <a:gd name="connsiteX2" fmla="*/ 2329583 w 2329583"/>
              <a:gd name="connsiteY2" fmla="*/ 2011932 h 2011932"/>
              <a:gd name="connsiteX3" fmla="*/ 0 w 2329583"/>
              <a:gd name="connsiteY3" fmla="*/ 667948 h 2011932"/>
              <a:gd name="connsiteX4" fmla="*/ 1182943 w 2329583"/>
              <a:gd name="connsiteY4" fmla="*/ 0 h 2011932"/>
              <a:gd name="connsiteX0" fmla="*/ 1173418 w 2320058"/>
              <a:gd name="connsiteY0" fmla="*/ 0 h 2011932"/>
              <a:gd name="connsiteX1" fmla="*/ 2320058 w 2320058"/>
              <a:gd name="connsiteY1" fmla="*/ 649321 h 2011932"/>
              <a:gd name="connsiteX2" fmla="*/ 2320058 w 2320058"/>
              <a:gd name="connsiteY2" fmla="*/ 2011932 h 2011932"/>
              <a:gd name="connsiteX3" fmla="*/ 0 w 2320058"/>
              <a:gd name="connsiteY3" fmla="*/ 691760 h 2011932"/>
              <a:gd name="connsiteX4" fmla="*/ 1173418 w 2320058"/>
              <a:gd name="connsiteY4" fmla="*/ 0 h 2011932"/>
              <a:gd name="connsiteX0" fmla="*/ 1159131 w 2305771"/>
              <a:gd name="connsiteY0" fmla="*/ 0 h 2011932"/>
              <a:gd name="connsiteX1" fmla="*/ 2305771 w 2305771"/>
              <a:gd name="connsiteY1" fmla="*/ 649321 h 2011932"/>
              <a:gd name="connsiteX2" fmla="*/ 2305771 w 2305771"/>
              <a:gd name="connsiteY2" fmla="*/ 2011932 h 2011932"/>
              <a:gd name="connsiteX3" fmla="*/ 0 w 2305771"/>
              <a:gd name="connsiteY3" fmla="*/ 701285 h 2011932"/>
              <a:gd name="connsiteX4" fmla="*/ 1159131 w 2305771"/>
              <a:gd name="connsiteY4" fmla="*/ 0 h 2011932"/>
              <a:gd name="connsiteX0" fmla="*/ 1168656 w 2315296"/>
              <a:gd name="connsiteY0" fmla="*/ 0 h 2011932"/>
              <a:gd name="connsiteX1" fmla="*/ 2315296 w 2315296"/>
              <a:gd name="connsiteY1" fmla="*/ 649321 h 2011932"/>
              <a:gd name="connsiteX2" fmla="*/ 2315296 w 2315296"/>
              <a:gd name="connsiteY2" fmla="*/ 2011932 h 2011932"/>
              <a:gd name="connsiteX3" fmla="*/ 0 w 2315296"/>
              <a:gd name="connsiteY3" fmla="*/ 691760 h 2011932"/>
              <a:gd name="connsiteX4" fmla="*/ 1168656 w 2315296"/>
              <a:gd name="connsiteY4" fmla="*/ 0 h 2011932"/>
              <a:gd name="connsiteX0" fmla="*/ 1168656 w 2315296"/>
              <a:gd name="connsiteY0" fmla="*/ 0 h 2026220"/>
              <a:gd name="connsiteX1" fmla="*/ 2315296 w 2315296"/>
              <a:gd name="connsiteY1" fmla="*/ 649321 h 2026220"/>
              <a:gd name="connsiteX2" fmla="*/ 2277196 w 2315296"/>
              <a:gd name="connsiteY2" fmla="*/ 2026220 h 2026220"/>
              <a:gd name="connsiteX3" fmla="*/ 0 w 2315296"/>
              <a:gd name="connsiteY3" fmla="*/ 691760 h 2026220"/>
              <a:gd name="connsiteX4" fmla="*/ 1168656 w 2315296"/>
              <a:gd name="connsiteY4" fmla="*/ 0 h 2026220"/>
              <a:gd name="connsiteX0" fmla="*/ 1168656 w 2286721"/>
              <a:gd name="connsiteY0" fmla="*/ 0 h 2026220"/>
              <a:gd name="connsiteX1" fmla="*/ 2286721 w 2286721"/>
              <a:gd name="connsiteY1" fmla="*/ 649321 h 2026220"/>
              <a:gd name="connsiteX2" fmla="*/ 2277196 w 2286721"/>
              <a:gd name="connsiteY2" fmla="*/ 2026220 h 2026220"/>
              <a:gd name="connsiteX3" fmla="*/ 0 w 2286721"/>
              <a:gd name="connsiteY3" fmla="*/ 691760 h 2026220"/>
              <a:gd name="connsiteX4" fmla="*/ 1168656 w 2286721"/>
              <a:gd name="connsiteY4" fmla="*/ 0 h 2026220"/>
              <a:gd name="connsiteX0" fmla="*/ 1168656 w 2286721"/>
              <a:gd name="connsiteY0" fmla="*/ 0 h 2026220"/>
              <a:gd name="connsiteX1" fmla="*/ 2286721 w 2286721"/>
              <a:gd name="connsiteY1" fmla="*/ 649321 h 2026220"/>
              <a:gd name="connsiteX2" fmla="*/ 2286721 w 2286721"/>
              <a:gd name="connsiteY2" fmla="*/ 2026220 h 2026220"/>
              <a:gd name="connsiteX3" fmla="*/ 0 w 2286721"/>
              <a:gd name="connsiteY3" fmla="*/ 691760 h 2026220"/>
              <a:gd name="connsiteX4" fmla="*/ 1168656 w 2286721"/>
              <a:gd name="connsiteY4" fmla="*/ 0 h 202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721" h="2026220">
                <a:moveTo>
                  <a:pt x="1168656" y="0"/>
                </a:moveTo>
                <a:cubicBezTo>
                  <a:pt x="1425717" y="369312"/>
                  <a:pt x="1806231" y="612248"/>
                  <a:pt x="2286721" y="649321"/>
                </a:cubicBezTo>
                <a:lnTo>
                  <a:pt x="2286721" y="2026220"/>
                </a:lnTo>
                <a:cubicBezTo>
                  <a:pt x="1298674" y="2010846"/>
                  <a:pt x="475836" y="1484425"/>
                  <a:pt x="0" y="691760"/>
                </a:cubicBezTo>
                <a:cubicBezTo>
                  <a:pt x="391139" y="465936"/>
                  <a:pt x="777517" y="225824"/>
                  <a:pt x="1168656" y="0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7" name="Oval 14">
            <a:extLst>
              <a:ext uri="{FF2B5EF4-FFF2-40B4-BE49-F238E27FC236}">
                <a16:creationId xmlns:a16="http://schemas.microsoft.com/office/drawing/2014/main" id="{E05E9CAD-506A-D50B-BF0C-88DD2CDBD992}"/>
              </a:ext>
            </a:extLst>
          </p:cNvPr>
          <p:cNvSpPr/>
          <p:nvPr/>
        </p:nvSpPr>
        <p:spPr>
          <a:xfrm>
            <a:off x="6998147" y="2693843"/>
            <a:ext cx="1237050" cy="2177181"/>
          </a:xfrm>
          <a:custGeom>
            <a:avLst/>
            <a:gdLst/>
            <a:ahLst/>
            <a:cxnLst/>
            <a:rect l="l" t="t" r="r" b="b"/>
            <a:pathLst>
              <a:path w="1634968" h="2877506">
                <a:moveTo>
                  <a:pt x="387922" y="0"/>
                </a:moveTo>
                <a:lnTo>
                  <a:pt x="886724" y="284420"/>
                </a:lnTo>
                <a:lnTo>
                  <a:pt x="1244991" y="488705"/>
                </a:lnTo>
                <a:lnTo>
                  <a:pt x="1634968" y="711073"/>
                </a:lnTo>
                <a:cubicBezTo>
                  <a:pt x="1516337" y="926105"/>
                  <a:pt x="1449095" y="1172333"/>
                  <a:pt x="1449095" y="1433957"/>
                </a:cubicBezTo>
                <a:cubicBezTo>
                  <a:pt x="1449095" y="1694200"/>
                  <a:pt x="1515629" y="1939207"/>
                  <a:pt x="1633250" y="2153345"/>
                </a:cubicBezTo>
                <a:lnTo>
                  <a:pt x="1292206" y="2352461"/>
                </a:lnTo>
                <a:lnTo>
                  <a:pt x="939254" y="2557810"/>
                </a:lnTo>
                <a:lnTo>
                  <a:pt x="383934" y="2877506"/>
                </a:lnTo>
                <a:cubicBezTo>
                  <a:pt x="138888" y="2455524"/>
                  <a:pt x="0" y="1964999"/>
                  <a:pt x="0" y="1442037"/>
                </a:cubicBezTo>
                <a:cubicBezTo>
                  <a:pt x="0" y="916326"/>
                  <a:pt x="140350" y="423398"/>
                  <a:pt x="387922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8" name="Oval 14">
            <a:extLst>
              <a:ext uri="{FF2B5EF4-FFF2-40B4-BE49-F238E27FC236}">
                <a16:creationId xmlns:a16="http://schemas.microsoft.com/office/drawing/2014/main" id="{B742D10F-E906-2DF4-C89E-3308A58BE21C}"/>
              </a:ext>
            </a:extLst>
          </p:cNvPr>
          <p:cNvSpPr/>
          <p:nvPr/>
        </p:nvSpPr>
        <p:spPr>
          <a:xfrm>
            <a:off x="7084782" y="2789992"/>
            <a:ext cx="1126720" cy="1986798"/>
          </a:xfrm>
          <a:custGeom>
            <a:avLst/>
            <a:gdLst>
              <a:gd name="connsiteX0" fmla="*/ 347558 w 1500402"/>
              <a:gd name="connsiteY0" fmla="*/ 0 h 2654459"/>
              <a:gd name="connsiteX1" fmla="*/ 1493911 w 1500402"/>
              <a:gd name="connsiteY1" fmla="*/ 661847 h 2654459"/>
              <a:gd name="connsiteX2" fmla="*/ 1334591 w 1500402"/>
              <a:gd name="connsiteY2" fmla="*/ 1330691 h 2654459"/>
              <a:gd name="connsiteX3" fmla="*/ 1500402 w 1500402"/>
              <a:gd name="connsiteY3" fmla="*/ 2012747 h 2654459"/>
              <a:gd name="connsiteX4" fmla="*/ 328630 w 1500402"/>
              <a:gd name="connsiteY4" fmla="*/ 2654459 h 2654459"/>
              <a:gd name="connsiteX5" fmla="*/ 0 w 1500402"/>
              <a:gd name="connsiteY5" fmla="*/ 1338773 h 2654459"/>
              <a:gd name="connsiteX6" fmla="*/ 347558 w 1500402"/>
              <a:gd name="connsiteY6" fmla="*/ 0 h 2654459"/>
              <a:gd name="connsiteX0" fmla="*/ 347558 w 1493911"/>
              <a:gd name="connsiteY0" fmla="*/ 0 h 2654459"/>
              <a:gd name="connsiteX1" fmla="*/ 1493911 w 1493911"/>
              <a:gd name="connsiteY1" fmla="*/ 661847 h 2654459"/>
              <a:gd name="connsiteX2" fmla="*/ 1334591 w 1493911"/>
              <a:gd name="connsiteY2" fmla="*/ 1330691 h 2654459"/>
              <a:gd name="connsiteX3" fmla="*/ 1476590 w 1493911"/>
              <a:gd name="connsiteY3" fmla="*/ 1998460 h 2654459"/>
              <a:gd name="connsiteX4" fmla="*/ 328630 w 1493911"/>
              <a:gd name="connsiteY4" fmla="*/ 2654459 h 2654459"/>
              <a:gd name="connsiteX5" fmla="*/ 0 w 1493911"/>
              <a:gd name="connsiteY5" fmla="*/ 1338773 h 2654459"/>
              <a:gd name="connsiteX6" fmla="*/ 347558 w 1493911"/>
              <a:gd name="connsiteY6" fmla="*/ 0 h 2654459"/>
              <a:gd name="connsiteX0" fmla="*/ 347558 w 1493911"/>
              <a:gd name="connsiteY0" fmla="*/ 0 h 2654459"/>
              <a:gd name="connsiteX1" fmla="*/ 1493911 w 1493911"/>
              <a:gd name="connsiteY1" fmla="*/ 661847 h 2654459"/>
              <a:gd name="connsiteX2" fmla="*/ 1334591 w 1493911"/>
              <a:gd name="connsiteY2" fmla="*/ 1330691 h 2654459"/>
              <a:gd name="connsiteX3" fmla="*/ 1486115 w 1493911"/>
              <a:gd name="connsiteY3" fmla="*/ 1974647 h 2654459"/>
              <a:gd name="connsiteX4" fmla="*/ 328630 w 1493911"/>
              <a:gd name="connsiteY4" fmla="*/ 2654459 h 2654459"/>
              <a:gd name="connsiteX5" fmla="*/ 0 w 1493911"/>
              <a:gd name="connsiteY5" fmla="*/ 1338773 h 2654459"/>
              <a:gd name="connsiteX6" fmla="*/ 347558 w 1493911"/>
              <a:gd name="connsiteY6" fmla="*/ 0 h 2654459"/>
              <a:gd name="connsiteX0" fmla="*/ 347558 w 1493911"/>
              <a:gd name="connsiteY0" fmla="*/ 0 h 2654459"/>
              <a:gd name="connsiteX1" fmla="*/ 1493911 w 1493911"/>
              <a:gd name="connsiteY1" fmla="*/ 661847 h 2654459"/>
              <a:gd name="connsiteX2" fmla="*/ 1334591 w 1493911"/>
              <a:gd name="connsiteY2" fmla="*/ 1330691 h 2654459"/>
              <a:gd name="connsiteX3" fmla="*/ 1486115 w 1493911"/>
              <a:gd name="connsiteY3" fmla="*/ 1974647 h 2654459"/>
              <a:gd name="connsiteX4" fmla="*/ 323867 w 1493911"/>
              <a:gd name="connsiteY4" fmla="*/ 2654459 h 2654459"/>
              <a:gd name="connsiteX5" fmla="*/ 0 w 1493911"/>
              <a:gd name="connsiteY5" fmla="*/ 1338773 h 2654459"/>
              <a:gd name="connsiteX6" fmla="*/ 347558 w 1493911"/>
              <a:gd name="connsiteY6" fmla="*/ 0 h 2654459"/>
              <a:gd name="connsiteX0" fmla="*/ 347558 w 1493911"/>
              <a:gd name="connsiteY0" fmla="*/ 0 h 2649696"/>
              <a:gd name="connsiteX1" fmla="*/ 1493911 w 1493911"/>
              <a:gd name="connsiteY1" fmla="*/ 661847 h 2649696"/>
              <a:gd name="connsiteX2" fmla="*/ 1334591 w 1493911"/>
              <a:gd name="connsiteY2" fmla="*/ 1330691 h 2649696"/>
              <a:gd name="connsiteX3" fmla="*/ 1486115 w 1493911"/>
              <a:gd name="connsiteY3" fmla="*/ 1974647 h 2649696"/>
              <a:gd name="connsiteX4" fmla="*/ 319105 w 1493911"/>
              <a:gd name="connsiteY4" fmla="*/ 2649696 h 2649696"/>
              <a:gd name="connsiteX5" fmla="*/ 0 w 1493911"/>
              <a:gd name="connsiteY5" fmla="*/ 1338773 h 2649696"/>
              <a:gd name="connsiteX6" fmla="*/ 347558 w 1493911"/>
              <a:gd name="connsiteY6" fmla="*/ 0 h 2649696"/>
              <a:gd name="connsiteX0" fmla="*/ 347558 w 1486115"/>
              <a:gd name="connsiteY0" fmla="*/ 0 h 2649696"/>
              <a:gd name="connsiteX1" fmla="*/ 1474861 w 1486115"/>
              <a:gd name="connsiteY1" fmla="*/ 676135 h 2649696"/>
              <a:gd name="connsiteX2" fmla="*/ 1334591 w 1486115"/>
              <a:gd name="connsiteY2" fmla="*/ 1330691 h 2649696"/>
              <a:gd name="connsiteX3" fmla="*/ 1486115 w 1486115"/>
              <a:gd name="connsiteY3" fmla="*/ 1974647 h 2649696"/>
              <a:gd name="connsiteX4" fmla="*/ 319105 w 1486115"/>
              <a:gd name="connsiteY4" fmla="*/ 2649696 h 2649696"/>
              <a:gd name="connsiteX5" fmla="*/ 0 w 1486115"/>
              <a:gd name="connsiteY5" fmla="*/ 1338773 h 2649696"/>
              <a:gd name="connsiteX6" fmla="*/ 347558 w 1486115"/>
              <a:gd name="connsiteY6" fmla="*/ 0 h 2649696"/>
              <a:gd name="connsiteX0" fmla="*/ 323745 w 1486115"/>
              <a:gd name="connsiteY0" fmla="*/ 0 h 2611596"/>
              <a:gd name="connsiteX1" fmla="*/ 1474861 w 1486115"/>
              <a:gd name="connsiteY1" fmla="*/ 638035 h 2611596"/>
              <a:gd name="connsiteX2" fmla="*/ 1334591 w 1486115"/>
              <a:gd name="connsiteY2" fmla="*/ 1292591 h 2611596"/>
              <a:gd name="connsiteX3" fmla="*/ 1486115 w 1486115"/>
              <a:gd name="connsiteY3" fmla="*/ 1936547 h 2611596"/>
              <a:gd name="connsiteX4" fmla="*/ 319105 w 1486115"/>
              <a:gd name="connsiteY4" fmla="*/ 2611596 h 2611596"/>
              <a:gd name="connsiteX5" fmla="*/ 0 w 1486115"/>
              <a:gd name="connsiteY5" fmla="*/ 1300673 h 2611596"/>
              <a:gd name="connsiteX6" fmla="*/ 323745 w 1486115"/>
              <a:gd name="connsiteY6" fmla="*/ 0 h 2611596"/>
              <a:gd name="connsiteX0" fmla="*/ 323745 w 1486115"/>
              <a:gd name="connsiteY0" fmla="*/ 0 h 2611596"/>
              <a:gd name="connsiteX1" fmla="*/ 1474861 w 1486115"/>
              <a:gd name="connsiteY1" fmla="*/ 638035 h 2611596"/>
              <a:gd name="connsiteX2" fmla="*/ 1334591 w 1486115"/>
              <a:gd name="connsiteY2" fmla="*/ 1292591 h 2611596"/>
              <a:gd name="connsiteX3" fmla="*/ 1486115 w 1486115"/>
              <a:gd name="connsiteY3" fmla="*/ 1936547 h 2611596"/>
              <a:gd name="connsiteX4" fmla="*/ 319105 w 1486115"/>
              <a:gd name="connsiteY4" fmla="*/ 2611596 h 2611596"/>
              <a:gd name="connsiteX5" fmla="*/ 0 w 1486115"/>
              <a:gd name="connsiteY5" fmla="*/ 1300673 h 2611596"/>
              <a:gd name="connsiteX6" fmla="*/ 323745 w 1486115"/>
              <a:gd name="connsiteY6" fmla="*/ 0 h 2611596"/>
              <a:gd name="connsiteX0" fmla="*/ 328508 w 1486115"/>
              <a:gd name="connsiteY0" fmla="*/ 0 h 2625883"/>
              <a:gd name="connsiteX1" fmla="*/ 1474861 w 1486115"/>
              <a:gd name="connsiteY1" fmla="*/ 652322 h 2625883"/>
              <a:gd name="connsiteX2" fmla="*/ 1334591 w 1486115"/>
              <a:gd name="connsiteY2" fmla="*/ 1306878 h 2625883"/>
              <a:gd name="connsiteX3" fmla="*/ 1486115 w 1486115"/>
              <a:gd name="connsiteY3" fmla="*/ 1950834 h 2625883"/>
              <a:gd name="connsiteX4" fmla="*/ 319105 w 1486115"/>
              <a:gd name="connsiteY4" fmla="*/ 2625883 h 2625883"/>
              <a:gd name="connsiteX5" fmla="*/ 0 w 1486115"/>
              <a:gd name="connsiteY5" fmla="*/ 1314960 h 2625883"/>
              <a:gd name="connsiteX6" fmla="*/ 328508 w 1486115"/>
              <a:gd name="connsiteY6" fmla="*/ 0 h 2625883"/>
              <a:gd name="connsiteX0" fmla="*/ 328508 w 1489148"/>
              <a:gd name="connsiteY0" fmla="*/ 0 h 2625883"/>
              <a:gd name="connsiteX1" fmla="*/ 1489148 w 1489148"/>
              <a:gd name="connsiteY1" fmla="*/ 652322 h 2625883"/>
              <a:gd name="connsiteX2" fmla="*/ 1334591 w 1489148"/>
              <a:gd name="connsiteY2" fmla="*/ 1306878 h 2625883"/>
              <a:gd name="connsiteX3" fmla="*/ 1486115 w 1489148"/>
              <a:gd name="connsiteY3" fmla="*/ 1950834 h 2625883"/>
              <a:gd name="connsiteX4" fmla="*/ 319105 w 1489148"/>
              <a:gd name="connsiteY4" fmla="*/ 2625883 h 2625883"/>
              <a:gd name="connsiteX5" fmla="*/ 0 w 1489148"/>
              <a:gd name="connsiteY5" fmla="*/ 1314960 h 2625883"/>
              <a:gd name="connsiteX6" fmla="*/ 328508 w 1489148"/>
              <a:gd name="connsiteY6" fmla="*/ 0 h 2625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89148" h="2625883">
                <a:moveTo>
                  <a:pt x="328508" y="0"/>
                </a:moveTo>
                <a:lnTo>
                  <a:pt x="1489148" y="652322"/>
                </a:lnTo>
                <a:cubicBezTo>
                  <a:pt x="1386534" y="853641"/>
                  <a:pt x="1335096" y="1090459"/>
                  <a:pt x="1334591" y="1306878"/>
                </a:cubicBezTo>
                <a:cubicBezTo>
                  <a:pt x="1334086" y="1523297"/>
                  <a:pt x="1379503" y="1746180"/>
                  <a:pt x="1486115" y="1950834"/>
                </a:cubicBezTo>
                <a:lnTo>
                  <a:pt x="319105" y="2625883"/>
                </a:lnTo>
                <a:cubicBezTo>
                  <a:pt x="96522" y="2229947"/>
                  <a:pt x="0" y="1801349"/>
                  <a:pt x="0" y="1314960"/>
                </a:cubicBezTo>
                <a:cubicBezTo>
                  <a:pt x="0" y="828814"/>
                  <a:pt x="105921" y="395672"/>
                  <a:pt x="328508" y="0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9" name="Up Arrow 2">
            <a:extLst>
              <a:ext uri="{FF2B5EF4-FFF2-40B4-BE49-F238E27FC236}">
                <a16:creationId xmlns:a16="http://schemas.microsoft.com/office/drawing/2014/main" id="{DA98BFF7-3B5C-1436-4CFB-E2874AC5A5F9}"/>
              </a:ext>
            </a:extLst>
          </p:cNvPr>
          <p:cNvSpPr/>
          <p:nvPr/>
        </p:nvSpPr>
        <p:spPr>
          <a:xfrm rot="368390" flipH="1">
            <a:off x="8683423" y="2940931"/>
            <a:ext cx="454558" cy="478508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82880" rtlCol="0" anchor="t"/>
          <a:lstStyle/>
          <a:p>
            <a:pPr algn="ctr"/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20" name="Up Arrow 2">
            <a:extLst>
              <a:ext uri="{FF2B5EF4-FFF2-40B4-BE49-F238E27FC236}">
                <a16:creationId xmlns:a16="http://schemas.microsoft.com/office/drawing/2014/main" id="{9F6B34F4-D87C-2A2F-0AED-4C220705190D}"/>
              </a:ext>
            </a:extLst>
          </p:cNvPr>
          <p:cNvSpPr/>
          <p:nvPr/>
        </p:nvSpPr>
        <p:spPr>
          <a:xfrm rot="4126347" flipH="1">
            <a:off x="9408592" y="2950591"/>
            <a:ext cx="454559" cy="478506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457200" bIns="182880" rtlCol="0" anchor="ctr"/>
          <a:lstStyle/>
          <a:p>
            <a:pPr algn="ctr"/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21" name="Up Arrow 2">
            <a:extLst>
              <a:ext uri="{FF2B5EF4-FFF2-40B4-BE49-F238E27FC236}">
                <a16:creationId xmlns:a16="http://schemas.microsoft.com/office/drawing/2014/main" id="{A26A2FF1-F1F7-5B74-BB06-0841427B0999}"/>
              </a:ext>
            </a:extLst>
          </p:cNvPr>
          <p:cNvSpPr/>
          <p:nvPr/>
        </p:nvSpPr>
        <p:spPr>
          <a:xfrm rot="7680000" flipH="1">
            <a:off x="9768962" y="3550429"/>
            <a:ext cx="454559" cy="478506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2" name="Up Arrow 2">
            <a:extLst>
              <a:ext uri="{FF2B5EF4-FFF2-40B4-BE49-F238E27FC236}">
                <a16:creationId xmlns:a16="http://schemas.microsoft.com/office/drawing/2014/main" id="{A10B768C-C51D-6CF3-A472-7F9A3A73D3FF}"/>
              </a:ext>
            </a:extLst>
          </p:cNvPr>
          <p:cNvSpPr/>
          <p:nvPr/>
        </p:nvSpPr>
        <p:spPr>
          <a:xfrm rot="10980000" flipH="1">
            <a:off x="9432203" y="4195888"/>
            <a:ext cx="454558" cy="478506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3" name="Up Arrow 2">
            <a:extLst>
              <a:ext uri="{FF2B5EF4-FFF2-40B4-BE49-F238E27FC236}">
                <a16:creationId xmlns:a16="http://schemas.microsoft.com/office/drawing/2014/main" id="{CF63C979-CB52-BE7B-0FE1-162EFFB5CCB9}"/>
              </a:ext>
            </a:extLst>
          </p:cNvPr>
          <p:cNvSpPr/>
          <p:nvPr/>
        </p:nvSpPr>
        <p:spPr>
          <a:xfrm rot="14967913" flipH="1">
            <a:off x="8657775" y="4176774"/>
            <a:ext cx="454560" cy="478508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4" name="Up Arrow 2">
            <a:extLst>
              <a:ext uri="{FF2B5EF4-FFF2-40B4-BE49-F238E27FC236}">
                <a16:creationId xmlns:a16="http://schemas.microsoft.com/office/drawing/2014/main" id="{D4C3A7A4-1C9C-1913-CC70-B1DEC237778D}"/>
              </a:ext>
            </a:extLst>
          </p:cNvPr>
          <p:cNvSpPr/>
          <p:nvPr/>
        </p:nvSpPr>
        <p:spPr>
          <a:xfrm rot="13920000">
            <a:off x="8316723" y="3550428"/>
            <a:ext cx="454559" cy="478508"/>
          </a:xfrm>
          <a:custGeom>
            <a:avLst/>
            <a:gdLst>
              <a:gd name="connsiteX0" fmla="*/ 0 w 737419"/>
              <a:gd name="connsiteY0" fmla="*/ 368710 h 914400"/>
              <a:gd name="connsiteX1" fmla="*/ 368710 w 737419"/>
              <a:gd name="connsiteY1" fmla="*/ 0 h 914400"/>
              <a:gd name="connsiteX2" fmla="*/ 737419 w 737419"/>
              <a:gd name="connsiteY2" fmla="*/ 368710 h 914400"/>
              <a:gd name="connsiteX3" fmla="*/ 553064 w 737419"/>
              <a:gd name="connsiteY3" fmla="*/ 368710 h 914400"/>
              <a:gd name="connsiteX4" fmla="*/ 553064 w 737419"/>
              <a:gd name="connsiteY4" fmla="*/ 914400 h 914400"/>
              <a:gd name="connsiteX5" fmla="*/ 184355 w 737419"/>
              <a:gd name="connsiteY5" fmla="*/ 914400 h 914400"/>
              <a:gd name="connsiteX6" fmla="*/ 184355 w 737419"/>
              <a:gd name="connsiteY6" fmla="*/ 368710 h 914400"/>
              <a:gd name="connsiteX7" fmla="*/ 0 w 737419"/>
              <a:gd name="connsiteY7" fmla="*/ 368710 h 914400"/>
              <a:gd name="connsiteX0" fmla="*/ 32339 w 769758"/>
              <a:gd name="connsiteY0" fmla="*/ 368710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32339 w 769758"/>
              <a:gd name="connsiteY7" fmla="*/ 368710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6694 w 769758"/>
              <a:gd name="connsiteY6" fmla="*/ 368710 h 914400"/>
              <a:gd name="connsiteX7" fmla="*/ 153782 w 769758"/>
              <a:gd name="connsiteY7" fmla="*/ 321085 h 914400"/>
              <a:gd name="connsiteX0" fmla="*/ 153782 w 769758"/>
              <a:gd name="connsiteY0" fmla="*/ 321085 h 914400"/>
              <a:gd name="connsiteX1" fmla="*/ 401049 w 769758"/>
              <a:gd name="connsiteY1" fmla="*/ 0 h 914400"/>
              <a:gd name="connsiteX2" fmla="*/ 769758 w 769758"/>
              <a:gd name="connsiteY2" fmla="*/ 368710 h 914400"/>
              <a:gd name="connsiteX3" fmla="*/ 585403 w 769758"/>
              <a:gd name="connsiteY3" fmla="*/ 368710 h 914400"/>
              <a:gd name="connsiteX4" fmla="*/ 585403 w 769758"/>
              <a:gd name="connsiteY4" fmla="*/ 914400 h 914400"/>
              <a:gd name="connsiteX5" fmla="*/ 0 w 769758"/>
              <a:gd name="connsiteY5" fmla="*/ 590550 h 914400"/>
              <a:gd name="connsiteX6" fmla="*/ 211932 w 769758"/>
              <a:gd name="connsiteY6" fmla="*/ 335373 h 914400"/>
              <a:gd name="connsiteX7" fmla="*/ 153782 w 769758"/>
              <a:gd name="connsiteY7" fmla="*/ 321085 h 914400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85403 w 769758"/>
              <a:gd name="connsiteY3" fmla="*/ 368710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769758"/>
              <a:gd name="connsiteY0" fmla="*/ 321085 h 769144"/>
              <a:gd name="connsiteX1" fmla="*/ 401049 w 769758"/>
              <a:gd name="connsiteY1" fmla="*/ 0 h 769144"/>
              <a:gd name="connsiteX2" fmla="*/ 769758 w 769758"/>
              <a:gd name="connsiteY2" fmla="*/ 368710 h 769144"/>
              <a:gd name="connsiteX3" fmla="*/ 513966 w 769758"/>
              <a:gd name="connsiteY3" fmla="*/ 568735 h 769144"/>
              <a:gd name="connsiteX4" fmla="*/ 354421 w 769758"/>
              <a:gd name="connsiteY4" fmla="*/ 769144 h 769144"/>
              <a:gd name="connsiteX5" fmla="*/ 0 w 769758"/>
              <a:gd name="connsiteY5" fmla="*/ 590550 h 769144"/>
              <a:gd name="connsiteX6" fmla="*/ 211932 w 769758"/>
              <a:gd name="connsiteY6" fmla="*/ 335373 h 769144"/>
              <a:gd name="connsiteX7" fmla="*/ 153782 w 769758"/>
              <a:gd name="connsiteY7" fmla="*/ 321085 h 769144"/>
              <a:gd name="connsiteX0" fmla="*/ 153782 w 543540"/>
              <a:gd name="connsiteY0" fmla="*/ 321085 h 769144"/>
              <a:gd name="connsiteX1" fmla="*/ 401049 w 543540"/>
              <a:gd name="connsiteY1" fmla="*/ 0 h 769144"/>
              <a:gd name="connsiteX2" fmla="*/ 543540 w 543540"/>
              <a:gd name="connsiteY2" fmla="*/ 606835 h 769144"/>
              <a:gd name="connsiteX3" fmla="*/ 513966 w 543540"/>
              <a:gd name="connsiteY3" fmla="*/ 568735 h 769144"/>
              <a:gd name="connsiteX4" fmla="*/ 354421 w 543540"/>
              <a:gd name="connsiteY4" fmla="*/ 769144 h 769144"/>
              <a:gd name="connsiteX5" fmla="*/ 0 w 543540"/>
              <a:gd name="connsiteY5" fmla="*/ 590550 h 769144"/>
              <a:gd name="connsiteX6" fmla="*/ 211932 w 543540"/>
              <a:gd name="connsiteY6" fmla="*/ 335373 h 769144"/>
              <a:gd name="connsiteX7" fmla="*/ 153782 w 543540"/>
              <a:gd name="connsiteY7" fmla="*/ 321085 h 769144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43540 w 543540"/>
              <a:gd name="connsiteY2" fmla="*/ 480628 h 642937"/>
              <a:gd name="connsiteX3" fmla="*/ 513966 w 543540"/>
              <a:gd name="connsiteY3" fmla="*/ 442528 h 642937"/>
              <a:gd name="connsiteX4" fmla="*/ 354421 w 543540"/>
              <a:gd name="connsiteY4" fmla="*/ 642937 h 642937"/>
              <a:gd name="connsiteX5" fmla="*/ 0 w 543540"/>
              <a:gd name="connsiteY5" fmla="*/ 464343 h 642937"/>
              <a:gd name="connsiteX6" fmla="*/ 211932 w 543540"/>
              <a:gd name="connsiteY6" fmla="*/ 209166 h 642937"/>
              <a:gd name="connsiteX7" fmla="*/ 153782 w 543540"/>
              <a:gd name="connsiteY7" fmla="*/ 194878 h 642937"/>
              <a:gd name="connsiteX0" fmla="*/ 153782 w 543540"/>
              <a:gd name="connsiteY0" fmla="*/ 194878 h 642937"/>
              <a:gd name="connsiteX1" fmla="*/ 493917 w 543540"/>
              <a:gd name="connsiteY1" fmla="*/ 0 h 642937"/>
              <a:gd name="connsiteX2" fmla="*/ 513198 w 543540"/>
              <a:gd name="connsiteY2" fmla="*/ 183049 h 642937"/>
              <a:gd name="connsiteX3" fmla="*/ 543540 w 543540"/>
              <a:gd name="connsiteY3" fmla="*/ 480628 h 642937"/>
              <a:gd name="connsiteX4" fmla="*/ 513966 w 543540"/>
              <a:gd name="connsiteY4" fmla="*/ 442528 h 642937"/>
              <a:gd name="connsiteX5" fmla="*/ 354421 w 543540"/>
              <a:gd name="connsiteY5" fmla="*/ 642937 h 642937"/>
              <a:gd name="connsiteX6" fmla="*/ 0 w 543540"/>
              <a:gd name="connsiteY6" fmla="*/ 464343 h 642937"/>
              <a:gd name="connsiteX7" fmla="*/ 211932 w 543540"/>
              <a:gd name="connsiteY7" fmla="*/ 209166 h 642937"/>
              <a:gd name="connsiteX8" fmla="*/ 153782 w 543540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43540 w 615592"/>
              <a:gd name="connsiteY3" fmla="*/ 480628 h 642937"/>
              <a:gd name="connsiteX4" fmla="*/ 513966 w 615592"/>
              <a:gd name="connsiteY4" fmla="*/ 442528 h 642937"/>
              <a:gd name="connsiteX5" fmla="*/ 354421 w 615592"/>
              <a:gd name="connsiteY5" fmla="*/ 642937 h 642937"/>
              <a:gd name="connsiteX6" fmla="*/ 0 w 615592"/>
              <a:gd name="connsiteY6" fmla="*/ 464343 h 642937"/>
              <a:gd name="connsiteX7" fmla="*/ 211932 w 615592"/>
              <a:gd name="connsiteY7" fmla="*/ 209166 h 642937"/>
              <a:gd name="connsiteX8" fmla="*/ 153782 w 615592"/>
              <a:gd name="connsiteY8" fmla="*/ 194878 h 642937"/>
              <a:gd name="connsiteX0" fmla="*/ 153782 w 615592"/>
              <a:gd name="connsiteY0" fmla="*/ 194878 h 642937"/>
              <a:gd name="connsiteX1" fmla="*/ 493917 w 615592"/>
              <a:gd name="connsiteY1" fmla="*/ 0 h 642937"/>
              <a:gd name="connsiteX2" fmla="*/ 615592 w 615592"/>
              <a:gd name="connsiteY2" fmla="*/ 85418 h 642937"/>
              <a:gd name="connsiteX3" fmla="*/ 560823 w 615592"/>
              <a:gd name="connsiteY3" fmla="*/ 387836 h 642937"/>
              <a:gd name="connsiteX4" fmla="*/ 543540 w 615592"/>
              <a:gd name="connsiteY4" fmla="*/ 480628 h 642937"/>
              <a:gd name="connsiteX5" fmla="*/ 513966 w 615592"/>
              <a:gd name="connsiteY5" fmla="*/ 442528 h 642937"/>
              <a:gd name="connsiteX6" fmla="*/ 354421 w 615592"/>
              <a:gd name="connsiteY6" fmla="*/ 642937 h 642937"/>
              <a:gd name="connsiteX7" fmla="*/ 0 w 615592"/>
              <a:gd name="connsiteY7" fmla="*/ 464343 h 642937"/>
              <a:gd name="connsiteX8" fmla="*/ 211932 w 615592"/>
              <a:gd name="connsiteY8" fmla="*/ 209166 h 642937"/>
              <a:gd name="connsiteX9" fmla="*/ 153782 w 615592"/>
              <a:gd name="connsiteY9" fmla="*/ 194878 h 642937"/>
              <a:gd name="connsiteX0" fmla="*/ 153782 w 665598"/>
              <a:gd name="connsiteY0" fmla="*/ 194878 h 642937"/>
              <a:gd name="connsiteX1" fmla="*/ 493917 w 665598"/>
              <a:gd name="connsiteY1" fmla="*/ 0 h 642937"/>
              <a:gd name="connsiteX2" fmla="*/ 615592 w 665598"/>
              <a:gd name="connsiteY2" fmla="*/ 85418 h 642937"/>
              <a:gd name="connsiteX3" fmla="*/ 665598 w 665598"/>
              <a:gd name="connsiteY3" fmla="*/ 411649 h 642937"/>
              <a:gd name="connsiteX4" fmla="*/ 543540 w 665598"/>
              <a:gd name="connsiteY4" fmla="*/ 480628 h 642937"/>
              <a:gd name="connsiteX5" fmla="*/ 513966 w 665598"/>
              <a:gd name="connsiteY5" fmla="*/ 442528 h 642937"/>
              <a:gd name="connsiteX6" fmla="*/ 354421 w 665598"/>
              <a:gd name="connsiteY6" fmla="*/ 642937 h 642937"/>
              <a:gd name="connsiteX7" fmla="*/ 0 w 665598"/>
              <a:gd name="connsiteY7" fmla="*/ 464343 h 642937"/>
              <a:gd name="connsiteX8" fmla="*/ 211932 w 665598"/>
              <a:gd name="connsiteY8" fmla="*/ 209166 h 642937"/>
              <a:gd name="connsiteX9" fmla="*/ 153782 w 665598"/>
              <a:gd name="connsiteY9" fmla="*/ 194878 h 642937"/>
              <a:gd name="connsiteX0" fmla="*/ 153782 w 665598"/>
              <a:gd name="connsiteY0" fmla="*/ 194878 h 642937"/>
              <a:gd name="connsiteX1" fmla="*/ 215542 w 665598"/>
              <a:gd name="connsiteY1" fmla="*/ 163999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60773 w 665598"/>
              <a:gd name="connsiteY1" fmla="*/ 56843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598"/>
              <a:gd name="connsiteY0" fmla="*/ 194878 h 642937"/>
              <a:gd name="connsiteX1" fmla="*/ 153629 w 665598"/>
              <a:gd name="connsiteY1" fmla="*/ 66368 h 642937"/>
              <a:gd name="connsiteX2" fmla="*/ 493917 w 665598"/>
              <a:gd name="connsiteY2" fmla="*/ 0 h 642937"/>
              <a:gd name="connsiteX3" fmla="*/ 615592 w 665598"/>
              <a:gd name="connsiteY3" fmla="*/ 85418 h 642937"/>
              <a:gd name="connsiteX4" fmla="*/ 665598 w 665598"/>
              <a:gd name="connsiteY4" fmla="*/ 411649 h 642937"/>
              <a:gd name="connsiteX5" fmla="*/ 543540 w 665598"/>
              <a:gd name="connsiteY5" fmla="*/ 480628 h 642937"/>
              <a:gd name="connsiteX6" fmla="*/ 513966 w 665598"/>
              <a:gd name="connsiteY6" fmla="*/ 442528 h 642937"/>
              <a:gd name="connsiteX7" fmla="*/ 354421 w 665598"/>
              <a:gd name="connsiteY7" fmla="*/ 642937 h 642937"/>
              <a:gd name="connsiteX8" fmla="*/ 0 w 665598"/>
              <a:gd name="connsiteY8" fmla="*/ 464343 h 642937"/>
              <a:gd name="connsiteX9" fmla="*/ 211932 w 665598"/>
              <a:gd name="connsiteY9" fmla="*/ 209166 h 642937"/>
              <a:gd name="connsiteX10" fmla="*/ 153782 w 665598"/>
              <a:gd name="connsiteY10" fmla="*/ 194878 h 642937"/>
              <a:gd name="connsiteX0" fmla="*/ 153782 w 665787"/>
              <a:gd name="connsiteY0" fmla="*/ 194878 h 642937"/>
              <a:gd name="connsiteX1" fmla="*/ 153629 w 665787"/>
              <a:gd name="connsiteY1" fmla="*/ 66368 h 642937"/>
              <a:gd name="connsiteX2" fmla="*/ 493917 w 665787"/>
              <a:gd name="connsiteY2" fmla="*/ 0 h 642937"/>
              <a:gd name="connsiteX3" fmla="*/ 615592 w 665787"/>
              <a:gd name="connsiteY3" fmla="*/ 85418 h 642937"/>
              <a:gd name="connsiteX4" fmla="*/ 665598 w 665787"/>
              <a:gd name="connsiteY4" fmla="*/ 411649 h 642937"/>
              <a:gd name="connsiteX5" fmla="*/ 543540 w 665787"/>
              <a:gd name="connsiteY5" fmla="*/ 480628 h 642937"/>
              <a:gd name="connsiteX6" fmla="*/ 513966 w 665787"/>
              <a:gd name="connsiteY6" fmla="*/ 442528 h 642937"/>
              <a:gd name="connsiteX7" fmla="*/ 354421 w 665787"/>
              <a:gd name="connsiteY7" fmla="*/ 642937 h 642937"/>
              <a:gd name="connsiteX8" fmla="*/ 0 w 665787"/>
              <a:gd name="connsiteY8" fmla="*/ 464343 h 642937"/>
              <a:gd name="connsiteX9" fmla="*/ 211932 w 665787"/>
              <a:gd name="connsiteY9" fmla="*/ 209166 h 642937"/>
              <a:gd name="connsiteX10" fmla="*/ 153782 w 665787"/>
              <a:gd name="connsiteY10" fmla="*/ 194878 h 642937"/>
              <a:gd name="connsiteX0" fmla="*/ 153782 w 665782"/>
              <a:gd name="connsiteY0" fmla="*/ 194878 h 642937"/>
              <a:gd name="connsiteX1" fmla="*/ 153629 w 665782"/>
              <a:gd name="connsiteY1" fmla="*/ 66368 h 642937"/>
              <a:gd name="connsiteX2" fmla="*/ 493917 w 665782"/>
              <a:gd name="connsiteY2" fmla="*/ 0 h 642937"/>
              <a:gd name="connsiteX3" fmla="*/ 615592 w 665782"/>
              <a:gd name="connsiteY3" fmla="*/ 85418 h 642937"/>
              <a:gd name="connsiteX4" fmla="*/ 665598 w 665782"/>
              <a:gd name="connsiteY4" fmla="*/ 411649 h 642937"/>
              <a:gd name="connsiteX5" fmla="*/ 543540 w 665782"/>
              <a:gd name="connsiteY5" fmla="*/ 480628 h 642937"/>
              <a:gd name="connsiteX6" fmla="*/ 513966 w 665782"/>
              <a:gd name="connsiteY6" fmla="*/ 442528 h 642937"/>
              <a:gd name="connsiteX7" fmla="*/ 354421 w 665782"/>
              <a:gd name="connsiteY7" fmla="*/ 642937 h 642937"/>
              <a:gd name="connsiteX8" fmla="*/ 0 w 665782"/>
              <a:gd name="connsiteY8" fmla="*/ 464343 h 642937"/>
              <a:gd name="connsiteX9" fmla="*/ 211932 w 665782"/>
              <a:gd name="connsiteY9" fmla="*/ 209166 h 642937"/>
              <a:gd name="connsiteX10" fmla="*/ 153782 w 665782"/>
              <a:gd name="connsiteY10" fmla="*/ 194878 h 642937"/>
              <a:gd name="connsiteX0" fmla="*/ 153782 w 665782"/>
              <a:gd name="connsiteY0" fmla="*/ 197330 h 645389"/>
              <a:gd name="connsiteX1" fmla="*/ 153629 w 665782"/>
              <a:gd name="connsiteY1" fmla="*/ 68820 h 645389"/>
              <a:gd name="connsiteX2" fmla="*/ 493917 w 665782"/>
              <a:gd name="connsiteY2" fmla="*/ 2452 h 645389"/>
              <a:gd name="connsiteX3" fmla="*/ 615592 w 665782"/>
              <a:gd name="connsiteY3" fmla="*/ 87870 h 645389"/>
              <a:gd name="connsiteX4" fmla="*/ 665598 w 665782"/>
              <a:gd name="connsiteY4" fmla="*/ 414101 h 645389"/>
              <a:gd name="connsiteX5" fmla="*/ 543540 w 665782"/>
              <a:gd name="connsiteY5" fmla="*/ 483080 h 645389"/>
              <a:gd name="connsiteX6" fmla="*/ 513966 w 665782"/>
              <a:gd name="connsiteY6" fmla="*/ 444980 h 645389"/>
              <a:gd name="connsiteX7" fmla="*/ 354421 w 665782"/>
              <a:gd name="connsiteY7" fmla="*/ 645389 h 645389"/>
              <a:gd name="connsiteX8" fmla="*/ 0 w 665782"/>
              <a:gd name="connsiteY8" fmla="*/ 466795 h 645389"/>
              <a:gd name="connsiteX9" fmla="*/ 211932 w 665782"/>
              <a:gd name="connsiteY9" fmla="*/ 211618 h 645389"/>
              <a:gd name="connsiteX10" fmla="*/ 153782 w 665782"/>
              <a:gd name="connsiteY10" fmla="*/ 197330 h 645389"/>
              <a:gd name="connsiteX0" fmla="*/ 153782 w 665782"/>
              <a:gd name="connsiteY0" fmla="*/ 199746 h 647805"/>
              <a:gd name="connsiteX1" fmla="*/ 153629 w 665782"/>
              <a:gd name="connsiteY1" fmla="*/ 71236 h 647805"/>
              <a:gd name="connsiteX2" fmla="*/ 493917 w 665782"/>
              <a:gd name="connsiteY2" fmla="*/ 4868 h 647805"/>
              <a:gd name="connsiteX3" fmla="*/ 615592 w 665782"/>
              <a:gd name="connsiteY3" fmla="*/ 90286 h 647805"/>
              <a:gd name="connsiteX4" fmla="*/ 665598 w 665782"/>
              <a:gd name="connsiteY4" fmla="*/ 416517 h 647805"/>
              <a:gd name="connsiteX5" fmla="*/ 543540 w 665782"/>
              <a:gd name="connsiteY5" fmla="*/ 485496 h 647805"/>
              <a:gd name="connsiteX6" fmla="*/ 513966 w 665782"/>
              <a:gd name="connsiteY6" fmla="*/ 447396 h 647805"/>
              <a:gd name="connsiteX7" fmla="*/ 354421 w 665782"/>
              <a:gd name="connsiteY7" fmla="*/ 647805 h 647805"/>
              <a:gd name="connsiteX8" fmla="*/ 0 w 665782"/>
              <a:gd name="connsiteY8" fmla="*/ 469211 h 647805"/>
              <a:gd name="connsiteX9" fmla="*/ 211932 w 665782"/>
              <a:gd name="connsiteY9" fmla="*/ 214034 h 647805"/>
              <a:gd name="connsiteX10" fmla="*/ 153782 w 665782"/>
              <a:gd name="connsiteY10" fmla="*/ 199746 h 647805"/>
              <a:gd name="connsiteX0" fmla="*/ 153782 w 665782"/>
              <a:gd name="connsiteY0" fmla="*/ 198007 h 646066"/>
              <a:gd name="connsiteX1" fmla="*/ 153629 w 665782"/>
              <a:gd name="connsiteY1" fmla="*/ 69497 h 646066"/>
              <a:gd name="connsiteX2" fmla="*/ 493917 w 665782"/>
              <a:gd name="connsiteY2" fmla="*/ 3129 h 646066"/>
              <a:gd name="connsiteX3" fmla="*/ 615592 w 665782"/>
              <a:gd name="connsiteY3" fmla="*/ 88547 h 646066"/>
              <a:gd name="connsiteX4" fmla="*/ 665598 w 665782"/>
              <a:gd name="connsiteY4" fmla="*/ 414778 h 646066"/>
              <a:gd name="connsiteX5" fmla="*/ 543540 w 665782"/>
              <a:gd name="connsiteY5" fmla="*/ 483757 h 646066"/>
              <a:gd name="connsiteX6" fmla="*/ 513966 w 665782"/>
              <a:gd name="connsiteY6" fmla="*/ 445657 h 646066"/>
              <a:gd name="connsiteX7" fmla="*/ 354421 w 665782"/>
              <a:gd name="connsiteY7" fmla="*/ 646066 h 646066"/>
              <a:gd name="connsiteX8" fmla="*/ 0 w 665782"/>
              <a:gd name="connsiteY8" fmla="*/ 467472 h 646066"/>
              <a:gd name="connsiteX9" fmla="*/ 211932 w 665782"/>
              <a:gd name="connsiteY9" fmla="*/ 212295 h 646066"/>
              <a:gd name="connsiteX10" fmla="*/ 153782 w 665782"/>
              <a:gd name="connsiteY10" fmla="*/ 198007 h 646066"/>
              <a:gd name="connsiteX0" fmla="*/ 153782 w 665782"/>
              <a:gd name="connsiteY0" fmla="*/ 202519 h 650578"/>
              <a:gd name="connsiteX1" fmla="*/ 153629 w 665782"/>
              <a:gd name="connsiteY1" fmla="*/ 74009 h 650578"/>
              <a:gd name="connsiteX2" fmla="*/ 493917 w 665782"/>
              <a:gd name="connsiteY2" fmla="*/ 7641 h 650578"/>
              <a:gd name="connsiteX3" fmla="*/ 615592 w 665782"/>
              <a:gd name="connsiteY3" fmla="*/ 93059 h 650578"/>
              <a:gd name="connsiteX4" fmla="*/ 665598 w 665782"/>
              <a:gd name="connsiteY4" fmla="*/ 419290 h 650578"/>
              <a:gd name="connsiteX5" fmla="*/ 543540 w 665782"/>
              <a:gd name="connsiteY5" fmla="*/ 488269 h 650578"/>
              <a:gd name="connsiteX6" fmla="*/ 513966 w 665782"/>
              <a:gd name="connsiteY6" fmla="*/ 450169 h 650578"/>
              <a:gd name="connsiteX7" fmla="*/ 354421 w 665782"/>
              <a:gd name="connsiteY7" fmla="*/ 650578 h 650578"/>
              <a:gd name="connsiteX8" fmla="*/ 0 w 665782"/>
              <a:gd name="connsiteY8" fmla="*/ 471984 h 650578"/>
              <a:gd name="connsiteX9" fmla="*/ 211932 w 665782"/>
              <a:gd name="connsiteY9" fmla="*/ 216807 h 650578"/>
              <a:gd name="connsiteX10" fmla="*/ 153782 w 665782"/>
              <a:gd name="connsiteY10" fmla="*/ 202519 h 650578"/>
              <a:gd name="connsiteX0" fmla="*/ 153782 w 665782"/>
              <a:gd name="connsiteY0" fmla="*/ 203670 h 651729"/>
              <a:gd name="connsiteX1" fmla="*/ 153629 w 665782"/>
              <a:gd name="connsiteY1" fmla="*/ 75160 h 651729"/>
              <a:gd name="connsiteX2" fmla="*/ 493917 w 665782"/>
              <a:gd name="connsiteY2" fmla="*/ 8792 h 651729"/>
              <a:gd name="connsiteX3" fmla="*/ 615592 w 665782"/>
              <a:gd name="connsiteY3" fmla="*/ 94210 h 651729"/>
              <a:gd name="connsiteX4" fmla="*/ 665598 w 665782"/>
              <a:gd name="connsiteY4" fmla="*/ 420441 h 651729"/>
              <a:gd name="connsiteX5" fmla="*/ 543540 w 665782"/>
              <a:gd name="connsiteY5" fmla="*/ 489420 h 651729"/>
              <a:gd name="connsiteX6" fmla="*/ 513966 w 665782"/>
              <a:gd name="connsiteY6" fmla="*/ 451320 h 651729"/>
              <a:gd name="connsiteX7" fmla="*/ 354421 w 665782"/>
              <a:gd name="connsiteY7" fmla="*/ 651729 h 651729"/>
              <a:gd name="connsiteX8" fmla="*/ 0 w 665782"/>
              <a:gd name="connsiteY8" fmla="*/ 473135 h 651729"/>
              <a:gd name="connsiteX9" fmla="*/ 211932 w 665782"/>
              <a:gd name="connsiteY9" fmla="*/ 217958 h 651729"/>
              <a:gd name="connsiteX10" fmla="*/ 153782 w 665782"/>
              <a:gd name="connsiteY10" fmla="*/ 203670 h 651729"/>
              <a:gd name="connsiteX0" fmla="*/ 153782 w 665782"/>
              <a:gd name="connsiteY0" fmla="*/ 203670 h 670779"/>
              <a:gd name="connsiteX1" fmla="*/ 153629 w 665782"/>
              <a:gd name="connsiteY1" fmla="*/ 75160 h 670779"/>
              <a:gd name="connsiteX2" fmla="*/ 493917 w 665782"/>
              <a:gd name="connsiteY2" fmla="*/ 8792 h 670779"/>
              <a:gd name="connsiteX3" fmla="*/ 615592 w 665782"/>
              <a:gd name="connsiteY3" fmla="*/ 94210 h 670779"/>
              <a:gd name="connsiteX4" fmla="*/ 665598 w 665782"/>
              <a:gd name="connsiteY4" fmla="*/ 420441 h 670779"/>
              <a:gd name="connsiteX5" fmla="*/ 543540 w 665782"/>
              <a:gd name="connsiteY5" fmla="*/ 489420 h 670779"/>
              <a:gd name="connsiteX6" fmla="*/ 513966 w 665782"/>
              <a:gd name="connsiteY6" fmla="*/ 451320 h 670779"/>
              <a:gd name="connsiteX7" fmla="*/ 337753 w 665782"/>
              <a:gd name="connsiteY7" fmla="*/ 670779 h 670779"/>
              <a:gd name="connsiteX8" fmla="*/ 0 w 665782"/>
              <a:gd name="connsiteY8" fmla="*/ 473135 h 670779"/>
              <a:gd name="connsiteX9" fmla="*/ 211932 w 665782"/>
              <a:gd name="connsiteY9" fmla="*/ 217958 h 670779"/>
              <a:gd name="connsiteX10" fmla="*/ 153782 w 665782"/>
              <a:gd name="connsiteY10" fmla="*/ 203670 h 670779"/>
              <a:gd name="connsiteX0" fmla="*/ 118064 w 630064"/>
              <a:gd name="connsiteY0" fmla="*/ 203670 h 670779"/>
              <a:gd name="connsiteX1" fmla="*/ 117911 w 630064"/>
              <a:gd name="connsiteY1" fmla="*/ 75160 h 670779"/>
              <a:gd name="connsiteX2" fmla="*/ 458199 w 630064"/>
              <a:gd name="connsiteY2" fmla="*/ 8792 h 670779"/>
              <a:gd name="connsiteX3" fmla="*/ 579874 w 630064"/>
              <a:gd name="connsiteY3" fmla="*/ 94210 h 670779"/>
              <a:gd name="connsiteX4" fmla="*/ 629880 w 630064"/>
              <a:gd name="connsiteY4" fmla="*/ 420441 h 670779"/>
              <a:gd name="connsiteX5" fmla="*/ 507822 w 630064"/>
              <a:gd name="connsiteY5" fmla="*/ 489420 h 670779"/>
              <a:gd name="connsiteX6" fmla="*/ 478248 w 630064"/>
              <a:gd name="connsiteY6" fmla="*/ 451320 h 670779"/>
              <a:gd name="connsiteX7" fmla="*/ 302035 w 630064"/>
              <a:gd name="connsiteY7" fmla="*/ 670779 h 670779"/>
              <a:gd name="connsiteX8" fmla="*/ 0 w 630064"/>
              <a:gd name="connsiteY8" fmla="*/ 446941 h 670779"/>
              <a:gd name="connsiteX9" fmla="*/ 176214 w 630064"/>
              <a:gd name="connsiteY9" fmla="*/ 217958 h 670779"/>
              <a:gd name="connsiteX10" fmla="*/ 118064 w 630064"/>
              <a:gd name="connsiteY10" fmla="*/ 203670 h 670779"/>
              <a:gd name="connsiteX0" fmla="*/ 125207 w 637207"/>
              <a:gd name="connsiteY0" fmla="*/ 203670 h 670779"/>
              <a:gd name="connsiteX1" fmla="*/ 125054 w 637207"/>
              <a:gd name="connsiteY1" fmla="*/ 75160 h 670779"/>
              <a:gd name="connsiteX2" fmla="*/ 465342 w 637207"/>
              <a:gd name="connsiteY2" fmla="*/ 8792 h 670779"/>
              <a:gd name="connsiteX3" fmla="*/ 587017 w 637207"/>
              <a:gd name="connsiteY3" fmla="*/ 94210 h 670779"/>
              <a:gd name="connsiteX4" fmla="*/ 637023 w 637207"/>
              <a:gd name="connsiteY4" fmla="*/ 420441 h 670779"/>
              <a:gd name="connsiteX5" fmla="*/ 514965 w 637207"/>
              <a:gd name="connsiteY5" fmla="*/ 489420 h 670779"/>
              <a:gd name="connsiteX6" fmla="*/ 485391 w 637207"/>
              <a:gd name="connsiteY6" fmla="*/ 451320 h 670779"/>
              <a:gd name="connsiteX7" fmla="*/ 309178 w 637207"/>
              <a:gd name="connsiteY7" fmla="*/ 670779 h 670779"/>
              <a:gd name="connsiteX8" fmla="*/ 0 w 637207"/>
              <a:gd name="connsiteY8" fmla="*/ 451703 h 670779"/>
              <a:gd name="connsiteX9" fmla="*/ 183357 w 637207"/>
              <a:gd name="connsiteY9" fmla="*/ 217958 h 670779"/>
              <a:gd name="connsiteX10" fmla="*/ 125207 w 637207"/>
              <a:gd name="connsiteY10" fmla="*/ 203670 h 67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37207" h="670779">
                <a:moveTo>
                  <a:pt x="125207" y="203670"/>
                </a:moveTo>
                <a:cubicBezTo>
                  <a:pt x="79912" y="198933"/>
                  <a:pt x="53668" y="117997"/>
                  <a:pt x="125054" y="75160"/>
                </a:cubicBezTo>
                <a:lnTo>
                  <a:pt x="465342" y="8792"/>
                </a:lnTo>
                <a:cubicBezTo>
                  <a:pt x="577337" y="-15122"/>
                  <a:pt x="577415" y="8587"/>
                  <a:pt x="587017" y="94210"/>
                </a:cubicBezTo>
                <a:lnTo>
                  <a:pt x="637023" y="420441"/>
                </a:lnTo>
                <a:cubicBezTo>
                  <a:pt x="641580" y="512491"/>
                  <a:pt x="560414" y="528340"/>
                  <a:pt x="514965" y="489420"/>
                </a:cubicBezTo>
                <a:lnTo>
                  <a:pt x="485391" y="451320"/>
                </a:lnTo>
                <a:lnTo>
                  <a:pt x="309178" y="670779"/>
                </a:lnTo>
                <a:lnTo>
                  <a:pt x="0" y="451703"/>
                </a:lnTo>
                <a:lnTo>
                  <a:pt x="183357" y="217958"/>
                </a:lnTo>
                <a:lnTo>
                  <a:pt x="125207" y="20367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76200" sx="102000" sy="102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213779E-49BA-E18D-8B98-7729912475D5}"/>
              </a:ext>
            </a:extLst>
          </p:cNvPr>
          <p:cNvSpPr/>
          <p:nvPr/>
        </p:nvSpPr>
        <p:spPr>
          <a:xfrm flipH="1">
            <a:off x="8471759" y="3023685"/>
            <a:ext cx="1595207" cy="159520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81ABA7-4677-45A7-7D0F-37F4DE58F5E7}"/>
              </a:ext>
            </a:extLst>
          </p:cNvPr>
          <p:cNvSpPr txBox="1"/>
          <p:nvPr/>
        </p:nvSpPr>
        <p:spPr>
          <a:xfrm>
            <a:off x="7967954" y="1954880"/>
            <a:ext cx="920525" cy="7562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50CC2CA-B372-AD1D-A61A-0C4FB0C425CE}"/>
              </a:ext>
            </a:extLst>
          </p:cNvPr>
          <p:cNvSpPr txBox="1"/>
          <p:nvPr/>
        </p:nvSpPr>
        <p:spPr>
          <a:xfrm>
            <a:off x="9661444" y="1954880"/>
            <a:ext cx="913835" cy="7562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C59B966-1FCA-694D-29F1-D84AE7DE1BDA}"/>
              </a:ext>
            </a:extLst>
          </p:cNvPr>
          <p:cNvSpPr txBox="1"/>
          <p:nvPr/>
        </p:nvSpPr>
        <p:spPr>
          <a:xfrm>
            <a:off x="10496035" y="3160629"/>
            <a:ext cx="911526" cy="11665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5DD903-C974-A82D-7E22-6DB1297FA9DE}"/>
              </a:ext>
            </a:extLst>
          </p:cNvPr>
          <p:cNvSpPr txBox="1"/>
          <p:nvPr/>
        </p:nvSpPr>
        <p:spPr>
          <a:xfrm>
            <a:off x="9687840" y="4875340"/>
            <a:ext cx="986572" cy="7562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420ADC4-1BAB-DDA3-CE53-93EA60689FB1}"/>
              </a:ext>
            </a:extLst>
          </p:cNvPr>
          <p:cNvSpPr txBox="1"/>
          <p:nvPr/>
        </p:nvSpPr>
        <p:spPr>
          <a:xfrm>
            <a:off x="7913465" y="4875340"/>
            <a:ext cx="945987" cy="7562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A6B448F-4119-687C-01CF-5CD3AB0E3EB8}"/>
              </a:ext>
            </a:extLst>
          </p:cNvPr>
          <p:cNvSpPr txBox="1"/>
          <p:nvPr/>
        </p:nvSpPr>
        <p:spPr>
          <a:xfrm>
            <a:off x="7118333" y="3160629"/>
            <a:ext cx="956820" cy="116653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  <a:cs typeface="Calibri" pitchFamily="34" charset="0"/>
              </a:rPr>
              <a:t>Enter Text Here</a:t>
            </a:r>
            <a:endParaRPr lang="en-US" sz="1200" dirty="0">
              <a:solidFill>
                <a:schemeClr val="bg2"/>
              </a:solidFill>
              <a:cs typeface="Calibri" pitchFamily="34" charset="0"/>
            </a:endParaRPr>
          </a:p>
        </p:txBody>
      </p:sp>
      <p:sp>
        <p:nvSpPr>
          <p:cNvPr id="47" name="Rounded Rectangle 45">
            <a:extLst>
              <a:ext uri="{FF2B5EF4-FFF2-40B4-BE49-F238E27FC236}">
                <a16:creationId xmlns:a16="http://schemas.microsoft.com/office/drawing/2014/main" id="{7040ADB3-62CC-B58B-FFA2-4A17E7BD2877}"/>
              </a:ext>
            </a:extLst>
          </p:cNvPr>
          <p:cNvSpPr/>
          <p:nvPr/>
        </p:nvSpPr>
        <p:spPr>
          <a:xfrm>
            <a:off x="8605066" y="3174212"/>
            <a:ext cx="1336661" cy="1294082"/>
          </a:xfrm>
          <a:prstGeom prst="roundRect">
            <a:avLst>
              <a:gd name="adj" fmla="val 49783"/>
            </a:avLst>
          </a:prstGeom>
          <a:gradFill flip="none" rotWithShape="1">
            <a:gsLst>
              <a:gs pos="100000">
                <a:schemeClr val="tx1">
                  <a:lumMod val="40000"/>
                  <a:lumOff val="60000"/>
                </a:schemeClr>
              </a:gs>
              <a:gs pos="50000">
                <a:schemeClr val="tx1">
                  <a:lumMod val="40000"/>
                  <a:lumOff val="60000"/>
                </a:schemeClr>
              </a:gs>
              <a:gs pos="0">
                <a:schemeClr val="tx1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980E7B4-03C2-7163-6BFB-8BBB47D666B5}"/>
              </a:ext>
            </a:extLst>
          </p:cNvPr>
          <p:cNvSpPr txBox="1"/>
          <p:nvPr/>
        </p:nvSpPr>
        <p:spPr>
          <a:xfrm>
            <a:off x="8394918" y="3473443"/>
            <a:ext cx="1756958" cy="69562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27000" h="25400" prst="cross"/>
          </a:sp3d>
        </p:spPr>
        <p:txBody>
          <a:bodyPr wrap="square" rtlCol="0">
            <a:noAutofit/>
          </a:bodyPr>
          <a:lstStyle/>
          <a:p>
            <a:pPr algn="ctr"/>
            <a:r>
              <a:rPr lang="en-US" sz="2000" b="1" dirty="0">
                <a:solidFill>
                  <a:schemeClr val="bg2"/>
                </a:solidFill>
                <a:cs typeface="Arial" pitchFamily="34" charset="0"/>
              </a:rPr>
              <a:t>Enter Text Here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6FB2805-DBD9-DE00-A72D-9AF5E7F27CA6}"/>
              </a:ext>
            </a:extLst>
          </p:cNvPr>
          <p:cNvSpPr/>
          <p:nvPr/>
        </p:nvSpPr>
        <p:spPr>
          <a:xfrm>
            <a:off x="671785" y="1744050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24AE1F08-0194-E866-DED5-754D1A57860F}"/>
              </a:ext>
            </a:extLst>
          </p:cNvPr>
          <p:cNvSpPr/>
          <p:nvPr/>
        </p:nvSpPr>
        <p:spPr>
          <a:xfrm>
            <a:off x="671785" y="2521729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88443D8C-7A2C-BE54-4246-94553943336A}"/>
              </a:ext>
            </a:extLst>
          </p:cNvPr>
          <p:cNvSpPr/>
          <p:nvPr/>
        </p:nvSpPr>
        <p:spPr>
          <a:xfrm>
            <a:off x="671785" y="3299409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5099F22C-E117-E57B-239F-E8E5A3A79EA3}"/>
              </a:ext>
            </a:extLst>
          </p:cNvPr>
          <p:cNvSpPr/>
          <p:nvPr/>
        </p:nvSpPr>
        <p:spPr>
          <a:xfrm>
            <a:off x="671785" y="4077088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68524A7-74B3-CDD0-50E3-72B3650A24E7}"/>
              </a:ext>
            </a:extLst>
          </p:cNvPr>
          <p:cNvSpPr/>
          <p:nvPr/>
        </p:nvSpPr>
        <p:spPr>
          <a:xfrm>
            <a:off x="671785" y="4854767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6785B49-BB68-1FCB-06AD-044900687FB7}"/>
              </a:ext>
            </a:extLst>
          </p:cNvPr>
          <p:cNvSpPr/>
          <p:nvPr/>
        </p:nvSpPr>
        <p:spPr>
          <a:xfrm>
            <a:off x="671785" y="5632447"/>
            <a:ext cx="475085" cy="3885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6D6C5AB-E235-E5B6-52CE-699AA2705058}"/>
              </a:ext>
            </a:extLst>
          </p:cNvPr>
          <p:cNvSpPr txBox="1"/>
          <p:nvPr/>
        </p:nvSpPr>
        <p:spPr>
          <a:xfrm>
            <a:off x="1335961" y="1647099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BA3254A-29A2-CCA4-88A8-1B4A903F00DA}"/>
              </a:ext>
            </a:extLst>
          </p:cNvPr>
          <p:cNvSpPr txBox="1">
            <a:spLocks/>
          </p:cNvSpPr>
          <p:nvPr/>
        </p:nvSpPr>
        <p:spPr>
          <a:xfrm>
            <a:off x="1335962" y="2424778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769DA8D-8697-4C0E-E2F2-6AA1B9045976}"/>
              </a:ext>
            </a:extLst>
          </p:cNvPr>
          <p:cNvSpPr txBox="1">
            <a:spLocks/>
          </p:cNvSpPr>
          <p:nvPr/>
        </p:nvSpPr>
        <p:spPr>
          <a:xfrm>
            <a:off x="1335962" y="3202458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55F4AEE-3619-DCD5-9745-B501F3CF3A42}"/>
              </a:ext>
            </a:extLst>
          </p:cNvPr>
          <p:cNvSpPr txBox="1">
            <a:spLocks/>
          </p:cNvSpPr>
          <p:nvPr/>
        </p:nvSpPr>
        <p:spPr>
          <a:xfrm>
            <a:off x="1335962" y="3980137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C0309BB-E5BD-E5F7-1F3D-D99175D1F816}"/>
              </a:ext>
            </a:extLst>
          </p:cNvPr>
          <p:cNvSpPr txBox="1">
            <a:spLocks/>
          </p:cNvSpPr>
          <p:nvPr/>
        </p:nvSpPr>
        <p:spPr>
          <a:xfrm>
            <a:off x="1335962" y="4757816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077E7F3-4263-746A-E14F-916CC87FAFEA}"/>
              </a:ext>
            </a:extLst>
          </p:cNvPr>
          <p:cNvSpPr txBox="1">
            <a:spLocks/>
          </p:cNvSpPr>
          <p:nvPr/>
        </p:nvSpPr>
        <p:spPr>
          <a:xfrm>
            <a:off x="1335962" y="5535496"/>
            <a:ext cx="5224918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A8F15EB-B7C1-CDDB-8582-F881A89D04F6}"/>
              </a:ext>
            </a:extLst>
          </p:cNvPr>
          <p:cNvSpPr txBox="1"/>
          <p:nvPr/>
        </p:nvSpPr>
        <p:spPr>
          <a:xfrm>
            <a:off x="8712602" y="2849110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B6DCB07-4D59-F800-A4DF-08CEF1B55142}"/>
              </a:ext>
            </a:extLst>
          </p:cNvPr>
          <p:cNvSpPr txBox="1"/>
          <p:nvPr/>
        </p:nvSpPr>
        <p:spPr>
          <a:xfrm>
            <a:off x="9616001" y="2849110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214D2E9-7F15-0482-701A-669479C9F6E1}"/>
              </a:ext>
            </a:extLst>
          </p:cNvPr>
          <p:cNvSpPr txBox="1"/>
          <p:nvPr/>
        </p:nvSpPr>
        <p:spPr>
          <a:xfrm>
            <a:off x="8280164" y="3592940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5DECAD2-6D1D-5932-04F7-4744AB301785}"/>
              </a:ext>
            </a:extLst>
          </p:cNvPr>
          <p:cNvSpPr txBox="1"/>
          <p:nvPr/>
        </p:nvSpPr>
        <p:spPr>
          <a:xfrm>
            <a:off x="10030273" y="3592940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70FA2E5-D10E-4F4C-8829-24AA54B35D1F}"/>
              </a:ext>
            </a:extLst>
          </p:cNvPr>
          <p:cNvSpPr txBox="1"/>
          <p:nvPr/>
        </p:nvSpPr>
        <p:spPr>
          <a:xfrm>
            <a:off x="8672464" y="4354868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793AA6C-30CE-4066-603C-05F3B3356A1E}"/>
              </a:ext>
            </a:extLst>
          </p:cNvPr>
          <p:cNvSpPr txBox="1"/>
          <p:nvPr/>
        </p:nvSpPr>
        <p:spPr>
          <a:xfrm>
            <a:off x="9661444" y="4354868"/>
            <a:ext cx="148052" cy="34073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3300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51322A0-8A7F-20A1-934F-2F2A7587CCB9}"/>
              </a:ext>
            </a:extLst>
          </p:cNvPr>
          <p:cNvSpPr/>
          <p:nvPr/>
        </p:nvSpPr>
        <p:spPr>
          <a:xfrm>
            <a:off x="999427" y="1857715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D772EBF-E280-89F8-4E6D-4A540DD857D4}"/>
              </a:ext>
            </a:extLst>
          </p:cNvPr>
          <p:cNvSpPr/>
          <p:nvPr/>
        </p:nvSpPr>
        <p:spPr>
          <a:xfrm>
            <a:off x="999427" y="2406754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020538A-C3B4-FF77-D2F3-0274E1E963BD}"/>
              </a:ext>
            </a:extLst>
          </p:cNvPr>
          <p:cNvSpPr/>
          <p:nvPr/>
        </p:nvSpPr>
        <p:spPr>
          <a:xfrm>
            <a:off x="999427" y="2955793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B92FE9F-CA40-B3D5-55FA-5E6616DB6C8E}"/>
              </a:ext>
            </a:extLst>
          </p:cNvPr>
          <p:cNvSpPr/>
          <p:nvPr/>
        </p:nvSpPr>
        <p:spPr>
          <a:xfrm>
            <a:off x="999427" y="3504832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969974-7F0F-00E7-C36B-FC3A802DEF95}"/>
              </a:ext>
            </a:extLst>
          </p:cNvPr>
          <p:cNvSpPr/>
          <p:nvPr/>
        </p:nvSpPr>
        <p:spPr>
          <a:xfrm>
            <a:off x="999427" y="4053871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F859635-7EC2-91B1-9A99-CC320E35264B}"/>
              </a:ext>
            </a:extLst>
          </p:cNvPr>
          <p:cNvSpPr/>
          <p:nvPr/>
        </p:nvSpPr>
        <p:spPr>
          <a:xfrm>
            <a:off x="999427" y="5700988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003D804-2003-E8F1-DC22-E69BD08854F3}"/>
              </a:ext>
            </a:extLst>
          </p:cNvPr>
          <p:cNvSpPr/>
          <p:nvPr/>
        </p:nvSpPr>
        <p:spPr>
          <a:xfrm>
            <a:off x="999427" y="5151949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FA01BC9-91B5-DEBB-BCF8-69477DCAA363}"/>
              </a:ext>
            </a:extLst>
          </p:cNvPr>
          <p:cNvSpPr/>
          <p:nvPr/>
        </p:nvSpPr>
        <p:spPr>
          <a:xfrm>
            <a:off x="999427" y="4602910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02388C-B8D7-D77F-9454-33A67EBF7460}"/>
              </a:ext>
            </a:extLst>
          </p:cNvPr>
          <p:cNvSpPr txBox="1"/>
          <p:nvPr/>
        </p:nvSpPr>
        <p:spPr>
          <a:xfrm>
            <a:off x="1382930" y="1789268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214243-D4B8-B863-47A3-359FD6FDFDCD}"/>
              </a:ext>
            </a:extLst>
          </p:cNvPr>
          <p:cNvSpPr txBox="1">
            <a:spLocks/>
          </p:cNvSpPr>
          <p:nvPr/>
        </p:nvSpPr>
        <p:spPr>
          <a:xfrm>
            <a:off x="1382931" y="2338307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D50A59A-EC0D-D92A-27E9-432E2E68BB9E}"/>
              </a:ext>
            </a:extLst>
          </p:cNvPr>
          <p:cNvSpPr txBox="1">
            <a:spLocks/>
          </p:cNvSpPr>
          <p:nvPr/>
        </p:nvSpPr>
        <p:spPr>
          <a:xfrm>
            <a:off x="1382931" y="2887346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B3F3AD-ADEC-2EC8-632E-D1E6B65E9287}"/>
              </a:ext>
            </a:extLst>
          </p:cNvPr>
          <p:cNvSpPr txBox="1">
            <a:spLocks/>
          </p:cNvSpPr>
          <p:nvPr/>
        </p:nvSpPr>
        <p:spPr>
          <a:xfrm>
            <a:off x="1382931" y="3436385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E3ABED-A674-E3BA-1D27-8858CD02E46A}"/>
              </a:ext>
            </a:extLst>
          </p:cNvPr>
          <p:cNvSpPr txBox="1">
            <a:spLocks/>
          </p:cNvSpPr>
          <p:nvPr/>
        </p:nvSpPr>
        <p:spPr>
          <a:xfrm>
            <a:off x="1382931" y="3985424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16BA8F-8BBD-D7AF-0A1C-88E0324EA895}"/>
              </a:ext>
            </a:extLst>
          </p:cNvPr>
          <p:cNvSpPr txBox="1">
            <a:spLocks/>
          </p:cNvSpPr>
          <p:nvPr/>
        </p:nvSpPr>
        <p:spPr>
          <a:xfrm>
            <a:off x="1382931" y="4534463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1160B4-EE02-6D44-95A6-0C00E2F0035E}"/>
              </a:ext>
            </a:extLst>
          </p:cNvPr>
          <p:cNvSpPr txBox="1">
            <a:spLocks/>
          </p:cNvSpPr>
          <p:nvPr/>
        </p:nvSpPr>
        <p:spPr>
          <a:xfrm>
            <a:off x="1382931" y="5083502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171913F-C920-4724-1645-A41F290FF809}"/>
              </a:ext>
            </a:extLst>
          </p:cNvPr>
          <p:cNvSpPr txBox="1">
            <a:spLocks/>
          </p:cNvSpPr>
          <p:nvPr/>
        </p:nvSpPr>
        <p:spPr>
          <a:xfrm>
            <a:off x="1382931" y="5632541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285D55D-CFF3-3EF7-EB2B-61726879B517}"/>
              </a:ext>
            </a:extLst>
          </p:cNvPr>
          <p:cNvSpPr>
            <a:spLocks/>
          </p:cNvSpPr>
          <p:nvPr/>
        </p:nvSpPr>
        <p:spPr>
          <a:xfrm>
            <a:off x="8887362" y="1519453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4188" tIns="264188" rIns="264188" bIns="264188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one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6732D3E-4359-5E00-9B5D-339F0E758F5A}"/>
              </a:ext>
            </a:extLst>
          </p:cNvPr>
          <p:cNvSpPr>
            <a:spLocks/>
          </p:cNvSpPr>
          <p:nvPr/>
        </p:nvSpPr>
        <p:spPr>
          <a:xfrm>
            <a:off x="9909412" y="2541504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two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2B4057C-6744-ADFC-168C-957A06C8FBF2}"/>
              </a:ext>
            </a:extLst>
          </p:cNvPr>
          <p:cNvSpPr>
            <a:spLocks/>
          </p:cNvSpPr>
          <p:nvPr/>
        </p:nvSpPr>
        <p:spPr>
          <a:xfrm>
            <a:off x="9909412" y="3986903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three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8C0C057B-BF5F-9BF8-7143-05A5AFE6F9A9}"/>
              </a:ext>
            </a:extLst>
          </p:cNvPr>
          <p:cNvSpPr>
            <a:spLocks/>
          </p:cNvSpPr>
          <p:nvPr/>
        </p:nvSpPr>
        <p:spPr>
          <a:xfrm>
            <a:off x="8887362" y="5008954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four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8345E28-990A-6399-F564-3D3A95D5159C}"/>
              </a:ext>
            </a:extLst>
          </p:cNvPr>
          <p:cNvSpPr>
            <a:spLocks/>
          </p:cNvSpPr>
          <p:nvPr/>
        </p:nvSpPr>
        <p:spPr>
          <a:xfrm>
            <a:off x="7441962" y="5008954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five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FBD02F1-86B9-E71C-40E2-4A8D739C361A}"/>
              </a:ext>
            </a:extLst>
          </p:cNvPr>
          <p:cNvSpPr>
            <a:spLocks/>
          </p:cNvSpPr>
          <p:nvPr/>
        </p:nvSpPr>
        <p:spPr>
          <a:xfrm>
            <a:off x="6419911" y="3986903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six</a:t>
            </a:r>
          </a:p>
        </p:txBody>
      </p:sp>
      <p:grpSp>
        <p:nvGrpSpPr>
          <p:cNvPr id="36" name="Graphic 7">
            <a:extLst>
              <a:ext uri="{FF2B5EF4-FFF2-40B4-BE49-F238E27FC236}">
                <a16:creationId xmlns:a16="http://schemas.microsoft.com/office/drawing/2014/main" id="{33C56FD3-F97B-CF6C-6F38-54246843F57C}"/>
              </a:ext>
            </a:extLst>
          </p:cNvPr>
          <p:cNvGrpSpPr>
            <a:grpSpLocks noChangeAspect="1"/>
          </p:cNvGrpSpPr>
          <p:nvPr/>
        </p:nvGrpSpPr>
        <p:grpSpPr>
          <a:xfrm rot="1821101">
            <a:off x="9913606" y="2342398"/>
            <a:ext cx="310221" cy="310221"/>
            <a:chOff x="2659944" y="-7056"/>
            <a:chExt cx="6867408" cy="6867408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65A9D2D1-FC92-00E9-25EA-FB2DEE6B9A82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3F9097C-157B-E29E-EA19-F267DBE37786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EFB2731-4575-59CB-6EC6-0769A55488DA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9542F8D-40D8-2856-4DF6-8E12CDAB6EC6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7" name="Graphic 7">
            <a:extLst>
              <a:ext uri="{FF2B5EF4-FFF2-40B4-BE49-F238E27FC236}">
                <a16:creationId xmlns:a16="http://schemas.microsoft.com/office/drawing/2014/main" id="{E4AA6A52-DA58-37FA-ED2D-B4269E62439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0466735" y="3677773"/>
            <a:ext cx="310221" cy="310221"/>
            <a:chOff x="2659944" y="-7056"/>
            <a:chExt cx="6867408" cy="6867408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9A38F7A-EFBC-A85A-E367-3FA61B9ECDBF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1BCC7CA-97AC-76EF-1BA7-054F68F48EAA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9D269AA-8161-DBA8-616F-47DE5FF99B07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1E254A3-28F8-B800-828A-70244F1A118D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8" name="Graphic 7">
            <a:extLst>
              <a:ext uri="{FF2B5EF4-FFF2-40B4-BE49-F238E27FC236}">
                <a16:creationId xmlns:a16="http://schemas.microsoft.com/office/drawing/2014/main" id="{FA92D6FE-F9E3-1204-50D8-A4002141459D}"/>
              </a:ext>
            </a:extLst>
          </p:cNvPr>
          <p:cNvGrpSpPr>
            <a:grpSpLocks noChangeAspect="1"/>
          </p:cNvGrpSpPr>
          <p:nvPr/>
        </p:nvGrpSpPr>
        <p:grpSpPr>
          <a:xfrm rot="8392834">
            <a:off x="9913606" y="5013146"/>
            <a:ext cx="310221" cy="310221"/>
            <a:chOff x="2659944" y="-7056"/>
            <a:chExt cx="6867408" cy="6867408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22850314-3DBA-C4B8-67F2-FF7FF7591779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38C4E2A-9990-CC8B-440B-3813B3CCB0FF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B83CE23-B41B-71EE-8CB3-D60EAEFEFC86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DD18B9A-7FDD-447C-B364-10B3F9EA4FD7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9" name="Graphic 7">
            <a:extLst>
              <a:ext uri="{FF2B5EF4-FFF2-40B4-BE49-F238E27FC236}">
                <a16:creationId xmlns:a16="http://schemas.microsoft.com/office/drawing/2014/main" id="{C1BCB3E8-C738-49E0-6021-A6EDDD77F479}"/>
              </a:ext>
            </a:extLst>
          </p:cNvPr>
          <p:cNvGrpSpPr>
            <a:grpSpLocks noChangeAspect="1"/>
          </p:cNvGrpSpPr>
          <p:nvPr/>
        </p:nvGrpSpPr>
        <p:grpSpPr>
          <a:xfrm rot="13885506">
            <a:off x="7242857" y="5013146"/>
            <a:ext cx="310221" cy="310221"/>
            <a:chOff x="2659944" y="-7056"/>
            <a:chExt cx="6867408" cy="6867408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7E4B5C56-0404-5430-FFA6-2BBAA8E3E49E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66177C07-BFDC-3747-359F-2CEF9CFFEE86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8C3558D-C2A0-EE4E-EF4A-5CABFEA62C47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3B9481D-C166-C632-AABA-602D83625669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0" name="Graphic 7">
            <a:extLst>
              <a:ext uri="{FF2B5EF4-FFF2-40B4-BE49-F238E27FC236}">
                <a16:creationId xmlns:a16="http://schemas.microsoft.com/office/drawing/2014/main" id="{1559581C-9D85-9DCC-837D-64CBE88F2194}"/>
              </a:ext>
            </a:extLst>
          </p:cNvPr>
          <p:cNvGrpSpPr>
            <a:grpSpLocks noChangeAspect="1"/>
          </p:cNvGrpSpPr>
          <p:nvPr/>
        </p:nvGrpSpPr>
        <p:grpSpPr>
          <a:xfrm rot="16200000" flipV="1">
            <a:off x="6689726" y="3677773"/>
            <a:ext cx="310221" cy="310221"/>
            <a:chOff x="2659944" y="-7056"/>
            <a:chExt cx="6867408" cy="6867408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94E09DB3-BF8F-B23E-92CD-367177879AC7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953A03E-8F05-99B8-92FD-9D9810C73852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4B8685B-8C4F-6E13-E728-0E5C34275D36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A0650A17-9DE0-6C3B-858F-1B04E74885B7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1" name="Graphic 7">
            <a:extLst>
              <a:ext uri="{FF2B5EF4-FFF2-40B4-BE49-F238E27FC236}">
                <a16:creationId xmlns:a16="http://schemas.microsoft.com/office/drawing/2014/main" id="{EE83C9DB-C586-BDC8-053C-D31CE00FCDC6}"/>
              </a:ext>
            </a:extLst>
          </p:cNvPr>
          <p:cNvGrpSpPr>
            <a:grpSpLocks noChangeAspect="1"/>
          </p:cNvGrpSpPr>
          <p:nvPr/>
        </p:nvGrpSpPr>
        <p:grpSpPr>
          <a:xfrm rot="13207166" flipV="1">
            <a:off x="8578231" y="5566277"/>
            <a:ext cx="310221" cy="310221"/>
            <a:chOff x="2659944" y="-7056"/>
            <a:chExt cx="6867408" cy="6867408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45B4FE3-6F4E-A8D1-80AD-D307ACB52496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1C0949E-8508-7C74-009A-AAA9D64AF8B2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210143D-F5B4-2BDB-E861-52A5268080D5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81891F4-23BE-DC75-91D5-5556646E6CAB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EF1C4F6B-6562-CDF6-F369-BD305AB206DB}"/>
              </a:ext>
            </a:extLst>
          </p:cNvPr>
          <p:cNvSpPr>
            <a:spLocks/>
          </p:cNvSpPr>
          <p:nvPr/>
        </p:nvSpPr>
        <p:spPr>
          <a:xfrm>
            <a:off x="6419911" y="2541504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seven</a:t>
            </a:r>
          </a:p>
        </p:txBody>
      </p:sp>
      <p:grpSp>
        <p:nvGrpSpPr>
          <p:cNvPr id="43" name="Graphic 7">
            <a:extLst>
              <a:ext uri="{FF2B5EF4-FFF2-40B4-BE49-F238E27FC236}">
                <a16:creationId xmlns:a16="http://schemas.microsoft.com/office/drawing/2014/main" id="{2120A30B-F4F8-E76F-9644-A8693852E095}"/>
              </a:ext>
            </a:extLst>
          </p:cNvPr>
          <p:cNvGrpSpPr>
            <a:grpSpLocks noChangeAspect="1"/>
          </p:cNvGrpSpPr>
          <p:nvPr/>
        </p:nvGrpSpPr>
        <p:grpSpPr>
          <a:xfrm rot="19778899" flipV="1">
            <a:off x="7242857" y="2342398"/>
            <a:ext cx="310221" cy="310221"/>
            <a:chOff x="2659944" y="-7056"/>
            <a:chExt cx="6867408" cy="6867408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93FA75F-BF89-66E8-D946-236A9B650E74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9F4792A-DC38-C6AF-34B2-7C1E8210AAE7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C7D8ADE-A496-1416-DF64-B357F5137F3B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8109CEC-8EF4-AAD1-DA89-67D1ABCF5E73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E5E2AE29-41FA-78F8-4313-C8433764216C}"/>
              </a:ext>
            </a:extLst>
          </p:cNvPr>
          <p:cNvSpPr>
            <a:spLocks/>
          </p:cNvSpPr>
          <p:nvPr/>
        </p:nvSpPr>
        <p:spPr>
          <a:xfrm>
            <a:off x="7441962" y="1519453"/>
            <a:ext cx="1137359" cy="1137359"/>
          </a:xfrm>
          <a:custGeom>
            <a:avLst/>
            <a:gdLst>
              <a:gd name="connsiteX0" fmla="*/ 0 w 1300998"/>
              <a:gd name="connsiteY0" fmla="*/ 650499 h 1300998"/>
              <a:gd name="connsiteX1" fmla="*/ 650499 w 1300998"/>
              <a:gd name="connsiteY1" fmla="*/ 0 h 1300998"/>
              <a:gd name="connsiteX2" fmla="*/ 1300998 w 1300998"/>
              <a:gd name="connsiteY2" fmla="*/ 650499 h 1300998"/>
              <a:gd name="connsiteX3" fmla="*/ 650499 w 1300998"/>
              <a:gd name="connsiteY3" fmla="*/ 1300998 h 1300998"/>
              <a:gd name="connsiteX4" fmla="*/ 0 w 1300998"/>
              <a:gd name="connsiteY4" fmla="*/ 650499 h 1300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0998" h="1300998">
                <a:moveTo>
                  <a:pt x="0" y="650499"/>
                </a:moveTo>
                <a:cubicBezTo>
                  <a:pt x="0" y="291238"/>
                  <a:pt x="291238" y="0"/>
                  <a:pt x="650499" y="0"/>
                </a:cubicBezTo>
                <a:cubicBezTo>
                  <a:pt x="1009760" y="0"/>
                  <a:pt x="1300998" y="291238"/>
                  <a:pt x="1300998" y="650499"/>
                </a:cubicBezTo>
                <a:cubicBezTo>
                  <a:pt x="1300998" y="1009760"/>
                  <a:pt x="1009760" y="1300998"/>
                  <a:pt x="650499" y="1300998"/>
                </a:cubicBezTo>
                <a:cubicBezTo>
                  <a:pt x="291238" y="1300998"/>
                  <a:pt x="0" y="1009760"/>
                  <a:pt x="0" y="6504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817" tIns="224817" rIns="224817" bIns="224817" numCol="1" spcCol="1270" anchor="ctr" anchorCtr="0">
            <a:noAutofit/>
          </a:bodyPr>
          <a:lstStyle/>
          <a:p>
            <a:pPr algn="ctr" defTabSz="257779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</a:rPr>
              <a:t>Part eight</a:t>
            </a:r>
          </a:p>
        </p:txBody>
      </p:sp>
      <p:grpSp>
        <p:nvGrpSpPr>
          <p:cNvPr id="45" name="Graphic 7">
            <a:extLst>
              <a:ext uri="{FF2B5EF4-FFF2-40B4-BE49-F238E27FC236}">
                <a16:creationId xmlns:a16="http://schemas.microsoft.com/office/drawing/2014/main" id="{D008E204-33AF-9768-4477-30F957C67DF6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8578231" y="1789268"/>
            <a:ext cx="310221" cy="310221"/>
            <a:chOff x="2659944" y="-7056"/>
            <a:chExt cx="6867408" cy="6867408"/>
          </a:xfrm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907A411-A693-A77A-D011-BD804EED8953}"/>
                </a:ext>
              </a:extLst>
            </p:cNvPr>
            <p:cNvSpPr>
              <a:spLocks/>
            </p:cNvSpPr>
            <p:nvPr/>
          </p:nvSpPr>
          <p:spPr>
            <a:xfrm>
              <a:off x="2744611" y="77611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7B2B49A-69B9-13D0-C1A9-5C223D4437AF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ACF519E-F1EE-E8FC-AE88-08E49B2CE07B}"/>
                </a:ext>
              </a:extLst>
            </p:cNvPr>
            <p:cNvSpPr>
              <a:spLocks/>
            </p:cNvSpPr>
            <p:nvPr/>
          </p:nvSpPr>
          <p:spPr>
            <a:xfrm>
              <a:off x="5122444" y="1432388"/>
              <a:ext cx="2144889" cy="4073407"/>
            </a:xfrm>
            <a:custGeom>
              <a:avLst/>
              <a:gdLst>
                <a:gd name="connsiteX0" fmla="*/ 191612 w 2144888"/>
                <a:gd name="connsiteY0" fmla="*/ 4039242 h 4073407"/>
                <a:gd name="connsiteX1" fmla="*/ 2115427 w 2144888"/>
                <a:gd name="connsiteY1" fmla="*/ 2115427 h 4073407"/>
                <a:gd name="connsiteX2" fmla="*/ 2115427 w 2144888"/>
                <a:gd name="connsiteY2" fmla="*/ 1962463 h 4073407"/>
                <a:gd name="connsiteX3" fmla="*/ 191612 w 2144888"/>
                <a:gd name="connsiteY3" fmla="*/ 38648 h 4073407"/>
                <a:gd name="connsiteX4" fmla="*/ 38648 w 2144888"/>
                <a:gd name="connsiteY4" fmla="*/ 38648 h 4073407"/>
                <a:gd name="connsiteX5" fmla="*/ 38648 w 2144888"/>
                <a:gd name="connsiteY5" fmla="*/ 191612 h 4073407"/>
                <a:gd name="connsiteX6" fmla="*/ 1885980 w 2144888"/>
                <a:gd name="connsiteY6" fmla="*/ 2038945 h 4073407"/>
                <a:gd name="connsiteX7" fmla="*/ 38648 w 2144888"/>
                <a:gd name="connsiteY7" fmla="*/ 3886278 h 4073407"/>
                <a:gd name="connsiteX8" fmla="*/ 38648 w 2144888"/>
                <a:gd name="connsiteY8" fmla="*/ 4039242 h 4073407"/>
                <a:gd name="connsiteX9" fmla="*/ 115130 w 2144888"/>
                <a:gd name="connsiteY9" fmla="*/ 4070945 h 4073407"/>
                <a:gd name="connsiteX10" fmla="*/ 191612 w 2144888"/>
                <a:gd name="connsiteY10" fmla="*/ 4039242 h 40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4888" h="4073407">
                  <a:moveTo>
                    <a:pt x="191612" y="4039242"/>
                  </a:moveTo>
                  <a:lnTo>
                    <a:pt x="2115427" y="2115427"/>
                  </a:lnTo>
                  <a:cubicBezTo>
                    <a:pt x="2157666" y="2073188"/>
                    <a:pt x="2157666" y="2004702"/>
                    <a:pt x="2115427" y="1962463"/>
                  </a:cubicBezTo>
                  <a:lnTo>
                    <a:pt x="191612" y="38648"/>
                  </a:lnTo>
                  <a:cubicBezTo>
                    <a:pt x="149373" y="-3591"/>
                    <a:pt x="80887" y="-3591"/>
                    <a:pt x="38648" y="38648"/>
                  </a:cubicBezTo>
                  <a:cubicBezTo>
                    <a:pt x="-3591" y="80887"/>
                    <a:pt x="-3591" y="149373"/>
                    <a:pt x="38648" y="191612"/>
                  </a:cubicBezTo>
                  <a:lnTo>
                    <a:pt x="1885980" y="2038945"/>
                  </a:lnTo>
                  <a:lnTo>
                    <a:pt x="38648" y="3886278"/>
                  </a:lnTo>
                  <a:cubicBezTo>
                    <a:pt x="-3591" y="3928517"/>
                    <a:pt x="-3591" y="3997003"/>
                    <a:pt x="38648" y="4039242"/>
                  </a:cubicBezTo>
                  <a:cubicBezTo>
                    <a:pt x="59814" y="4060409"/>
                    <a:pt x="87472" y="4070945"/>
                    <a:pt x="115130" y="4070945"/>
                  </a:cubicBezTo>
                  <a:cubicBezTo>
                    <a:pt x="142788" y="4070945"/>
                    <a:pt x="170540" y="4060409"/>
                    <a:pt x="191612" y="4039242"/>
                  </a:cubicBezTo>
                  <a:close/>
                </a:path>
              </a:pathLst>
            </a:custGeom>
            <a:solidFill>
              <a:srgbClr val="051C2C"/>
            </a:solidFill>
            <a:ln w="94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245C94E-8C23-543D-4126-DA740435BDAD}"/>
                </a:ext>
              </a:extLst>
            </p:cNvPr>
            <p:cNvSpPr>
              <a:spLocks/>
            </p:cNvSpPr>
            <p:nvPr/>
          </p:nvSpPr>
          <p:spPr>
            <a:xfrm>
              <a:off x="2659944" y="-7056"/>
              <a:ext cx="6782741" cy="6782741"/>
            </a:xfrm>
            <a:custGeom>
              <a:avLst/>
              <a:gdLst>
                <a:gd name="connsiteX0" fmla="*/ 7056 w 6782740"/>
                <a:gd name="connsiteY0" fmla="*/ 7056 h 6782740"/>
                <a:gd name="connsiteX1" fmla="*/ 6780389 w 6782740"/>
                <a:gd name="connsiteY1" fmla="*/ 7056 h 6782740"/>
                <a:gd name="connsiteX2" fmla="*/ 6780389 w 6782740"/>
                <a:gd name="connsiteY2" fmla="*/ 6780389 h 6782740"/>
                <a:gd name="connsiteX3" fmla="*/ 7056 w 6782740"/>
                <a:gd name="connsiteY3" fmla="*/ 6780389 h 678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82740" h="6782740">
                  <a:moveTo>
                    <a:pt x="7056" y="7056"/>
                  </a:moveTo>
                  <a:lnTo>
                    <a:pt x="6780389" y="7056"/>
                  </a:lnTo>
                  <a:lnTo>
                    <a:pt x="6780389" y="6780389"/>
                  </a:lnTo>
                  <a:lnTo>
                    <a:pt x="7056" y="6780389"/>
                  </a:lnTo>
                  <a:close/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40">
                <a:defRPr/>
              </a:pPr>
              <a:endParaRPr lang="en-US" sz="2000" b="1" kern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281933F4-F428-EE5E-31B5-163146FE71C4}"/>
              </a:ext>
            </a:extLst>
          </p:cNvPr>
          <p:cNvSpPr txBox="1">
            <a:spLocks/>
          </p:cNvSpPr>
          <p:nvPr/>
        </p:nvSpPr>
        <p:spPr>
          <a:xfrm>
            <a:off x="7839915" y="3229293"/>
            <a:ext cx="1790677" cy="113735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1174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Google Shape;820;p28">
            <a:extLst>
              <a:ext uri="{FF2B5EF4-FFF2-40B4-BE49-F238E27FC236}">
                <a16:creationId xmlns:a16="http://schemas.microsoft.com/office/drawing/2014/main" id="{FE854B47-1956-105E-378E-332D76ACC75C}"/>
              </a:ext>
            </a:extLst>
          </p:cNvPr>
          <p:cNvSpPr txBox="1"/>
          <p:nvPr/>
        </p:nvSpPr>
        <p:spPr>
          <a:xfrm>
            <a:off x="1073626" y="5102785"/>
            <a:ext cx="2260810" cy="675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lang="pt-BR"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" name="Google Shape;821;p28">
            <a:extLst>
              <a:ext uri="{FF2B5EF4-FFF2-40B4-BE49-F238E27FC236}">
                <a16:creationId xmlns:a16="http://schemas.microsoft.com/office/drawing/2014/main" id="{C4AB9036-0485-971F-9E23-A4AD39130202}"/>
              </a:ext>
            </a:extLst>
          </p:cNvPr>
          <p:cNvSpPr txBox="1"/>
          <p:nvPr/>
        </p:nvSpPr>
        <p:spPr>
          <a:xfrm>
            <a:off x="1076251" y="4877335"/>
            <a:ext cx="2260810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r"/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cxnSp>
        <p:nvCxnSpPr>
          <p:cNvPr id="6" name="Google Shape;822;p28">
            <a:extLst>
              <a:ext uri="{FF2B5EF4-FFF2-40B4-BE49-F238E27FC236}">
                <a16:creationId xmlns:a16="http://schemas.microsoft.com/office/drawing/2014/main" id="{8BB6D49E-A862-5F13-F1D5-DF617253A49B}"/>
              </a:ext>
            </a:extLst>
          </p:cNvPr>
          <p:cNvCxnSpPr>
            <a:stCxn id="4" idx="3"/>
          </p:cNvCxnSpPr>
          <p:nvPr/>
        </p:nvCxnSpPr>
        <p:spPr>
          <a:xfrm>
            <a:off x="3337062" y="5001632"/>
            <a:ext cx="1515809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7" name="Google Shape;823;p28">
            <a:extLst>
              <a:ext uri="{FF2B5EF4-FFF2-40B4-BE49-F238E27FC236}">
                <a16:creationId xmlns:a16="http://schemas.microsoft.com/office/drawing/2014/main" id="{897DA8BA-2871-1053-118F-2C55ED3B1574}"/>
              </a:ext>
            </a:extLst>
          </p:cNvPr>
          <p:cNvSpPr txBox="1"/>
          <p:nvPr/>
        </p:nvSpPr>
        <p:spPr>
          <a:xfrm>
            <a:off x="5176448" y="3337341"/>
            <a:ext cx="1745624" cy="675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2000" b="1" dirty="0">
                <a:solidFill>
                  <a:schemeClr val="bg2"/>
                </a:solidFill>
              </a:rPr>
              <a:t>Lorem Ipsum</a:t>
            </a:r>
          </a:p>
        </p:txBody>
      </p:sp>
      <p:sp>
        <p:nvSpPr>
          <p:cNvPr id="8" name="Google Shape;825;p28">
            <a:extLst>
              <a:ext uri="{FF2B5EF4-FFF2-40B4-BE49-F238E27FC236}">
                <a16:creationId xmlns:a16="http://schemas.microsoft.com/office/drawing/2014/main" id="{1E6D673B-3C4C-D73B-77B3-806E6284443E}"/>
              </a:ext>
            </a:extLst>
          </p:cNvPr>
          <p:cNvSpPr txBox="1"/>
          <p:nvPr/>
        </p:nvSpPr>
        <p:spPr>
          <a:xfrm>
            <a:off x="8734967" y="5102785"/>
            <a:ext cx="2263467" cy="675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lang="pt-BR"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" name="Google Shape;826;p28">
            <a:extLst>
              <a:ext uri="{FF2B5EF4-FFF2-40B4-BE49-F238E27FC236}">
                <a16:creationId xmlns:a16="http://schemas.microsoft.com/office/drawing/2014/main" id="{227E6ECC-2DCB-1285-1C4C-C9716AACE6B8}"/>
              </a:ext>
            </a:extLst>
          </p:cNvPr>
          <p:cNvSpPr txBox="1"/>
          <p:nvPr/>
        </p:nvSpPr>
        <p:spPr>
          <a:xfrm>
            <a:off x="8734967" y="4877335"/>
            <a:ext cx="2260810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cxnSp>
        <p:nvCxnSpPr>
          <p:cNvPr id="10" name="Google Shape;827;p28">
            <a:extLst>
              <a:ext uri="{FF2B5EF4-FFF2-40B4-BE49-F238E27FC236}">
                <a16:creationId xmlns:a16="http://schemas.microsoft.com/office/drawing/2014/main" id="{CF37D3D5-CDB1-DCC7-ED1F-BFD99E9075AD}"/>
              </a:ext>
            </a:extLst>
          </p:cNvPr>
          <p:cNvCxnSpPr>
            <a:stCxn id="9" idx="1"/>
          </p:cNvCxnSpPr>
          <p:nvPr/>
        </p:nvCxnSpPr>
        <p:spPr>
          <a:xfrm rot="10800000">
            <a:off x="7295062" y="5001632"/>
            <a:ext cx="1439905" cy="0"/>
          </a:xfrm>
          <a:prstGeom prst="straightConnector1">
            <a:avLst/>
          </a:prstGeom>
          <a:noFill/>
          <a:ln w="19050" cap="flat" cmpd="sng">
            <a:solidFill>
              <a:schemeClr val="accent5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11" name="Google Shape;829;p28">
            <a:extLst>
              <a:ext uri="{FF2B5EF4-FFF2-40B4-BE49-F238E27FC236}">
                <a16:creationId xmlns:a16="http://schemas.microsoft.com/office/drawing/2014/main" id="{03CB48F6-1CCB-8817-D04A-631D125970E1}"/>
              </a:ext>
            </a:extLst>
          </p:cNvPr>
          <p:cNvSpPr txBox="1"/>
          <p:nvPr/>
        </p:nvSpPr>
        <p:spPr>
          <a:xfrm>
            <a:off x="8734966" y="3690662"/>
            <a:ext cx="2263468" cy="675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lang="pt-BR"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2" name="Google Shape;830;p28">
            <a:extLst>
              <a:ext uri="{FF2B5EF4-FFF2-40B4-BE49-F238E27FC236}">
                <a16:creationId xmlns:a16="http://schemas.microsoft.com/office/drawing/2014/main" id="{E3C06411-CC3F-FB7C-2916-D425B883204F}"/>
              </a:ext>
            </a:extLst>
          </p:cNvPr>
          <p:cNvSpPr txBox="1"/>
          <p:nvPr/>
        </p:nvSpPr>
        <p:spPr>
          <a:xfrm>
            <a:off x="8734966" y="3463441"/>
            <a:ext cx="2260811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cxnSp>
        <p:nvCxnSpPr>
          <p:cNvPr id="13" name="Google Shape;831;p28">
            <a:extLst>
              <a:ext uri="{FF2B5EF4-FFF2-40B4-BE49-F238E27FC236}">
                <a16:creationId xmlns:a16="http://schemas.microsoft.com/office/drawing/2014/main" id="{B98A370E-1C53-AE5D-FA5C-83FABF38913D}"/>
              </a:ext>
            </a:extLst>
          </p:cNvPr>
          <p:cNvCxnSpPr>
            <a:stCxn id="12" idx="1"/>
          </p:cNvCxnSpPr>
          <p:nvPr/>
        </p:nvCxnSpPr>
        <p:spPr>
          <a:xfrm rot="10800000">
            <a:off x="7880663" y="3587738"/>
            <a:ext cx="854303" cy="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14" name="Google Shape;833;p28">
            <a:extLst>
              <a:ext uri="{FF2B5EF4-FFF2-40B4-BE49-F238E27FC236}">
                <a16:creationId xmlns:a16="http://schemas.microsoft.com/office/drawing/2014/main" id="{0927126C-A425-7EB9-74DA-519689CBE452}"/>
              </a:ext>
            </a:extLst>
          </p:cNvPr>
          <p:cNvSpPr txBox="1"/>
          <p:nvPr/>
        </p:nvSpPr>
        <p:spPr>
          <a:xfrm>
            <a:off x="8734967" y="2313576"/>
            <a:ext cx="2263467" cy="675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lang="pt-BR"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" name="Google Shape;834;p28">
            <a:extLst>
              <a:ext uri="{FF2B5EF4-FFF2-40B4-BE49-F238E27FC236}">
                <a16:creationId xmlns:a16="http://schemas.microsoft.com/office/drawing/2014/main" id="{6F503B48-7A6D-1C4B-CB01-D2E2A34E6550}"/>
              </a:ext>
            </a:extLst>
          </p:cNvPr>
          <p:cNvSpPr txBox="1"/>
          <p:nvPr/>
        </p:nvSpPr>
        <p:spPr>
          <a:xfrm>
            <a:off x="8734967" y="2080769"/>
            <a:ext cx="2260811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cxnSp>
        <p:nvCxnSpPr>
          <p:cNvPr id="16" name="Google Shape;835;p28">
            <a:extLst>
              <a:ext uri="{FF2B5EF4-FFF2-40B4-BE49-F238E27FC236}">
                <a16:creationId xmlns:a16="http://schemas.microsoft.com/office/drawing/2014/main" id="{B9D2CF1E-BADC-BE18-6CDE-8FC05C3BE888}"/>
              </a:ext>
            </a:extLst>
          </p:cNvPr>
          <p:cNvCxnSpPr>
            <a:stCxn id="15" idx="1"/>
          </p:cNvCxnSpPr>
          <p:nvPr/>
        </p:nvCxnSpPr>
        <p:spPr>
          <a:xfrm rot="10800000">
            <a:off x="7297718" y="2205066"/>
            <a:ext cx="1437249" cy="0"/>
          </a:xfrm>
          <a:prstGeom prst="straightConnector1">
            <a:avLst/>
          </a:prstGeom>
          <a:noFill/>
          <a:ln w="19050" cap="flat" cmpd="sng">
            <a:solidFill>
              <a:schemeClr val="accent6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17" name="Google Shape;837;p28">
            <a:extLst>
              <a:ext uri="{FF2B5EF4-FFF2-40B4-BE49-F238E27FC236}">
                <a16:creationId xmlns:a16="http://schemas.microsoft.com/office/drawing/2014/main" id="{93FDD064-4949-2DF2-5279-37159718212A}"/>
              </a:ext>
            </a:extLst>
          </p:cNvPr>
          <p:cNvSpPr txBox="1"/>
          <p:nvPr/>
        </p:nvSpPr>
        <p:spPr>
          <a:xfrm>
            <a:off x="1076248" y="2313576"/>
            <a:ext cx="2260811" cy="675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" name="Google Shape;838;p28">
            <a:extLst>
              <a:ext uri="{FF2B5EF4-FFF2-40B4-BE49-F238E27FC236}">
                <a16:creationId xmlns:a16="http://schemas.microsoft.com/office/drawing/2014/main" id="{F31B6F6A-9E1F-D1BB-FBF9-0BF9B34FCD3E}"/>
              </a:ext>
            </a:extLst>
          </p:cNvPr>
          <p:cNvSpPr txBox="1"/>
          <p:nvPr/>
        </p:nvSpPr>
        <p:spPr>
          <a:xfrm>
            <a:off x="1076251" y="2080769"/>
            <a:ext cx="2260811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r"/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cxnSp>
        <p:nvCxnSpPr>
          <p:cNvPr id="19" name="Google Shape;839;p28">
            <a:extLst>
              <a:ext uri="{FF2B5EF4-FFF2-40B4-BE49-F238E27FC236}">
                <a16:creationId xmlns:a16="http://schemas.microsoft.com/office/drawing/2014/main" id="{B596F17C-8805-1C18-CD2D-03114AD79E20}"/>
              </a:ext>
            </a:extLst>
          </p:cNvPr>
          <p:cNvCxnSpPr>
            <a:stCxn id="18" idx="3"/>
          </p:cNvCxnSpPr>
          <p:nvPr/>
        </p:nvCxnSpPr>
        <p:spPr>
          <a:xfrm>
            <a:off x="3337061" y="2205066"/>
            <a:ext cx="1600443" cy="0"/>
          </a:xfrm>
          <a:prstGeom prst="straightConnector1">
            <a:avLst/>
          </a:prstGeom>
          <a:noFill/>
          <a:ln w="190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triangle" w="med" len="med"/>
            <a:tailEnd type="none" w="med" len="med"/>
          </a:ln>
        </p:spPr>
      </p:cxnSp>
      <p:cxnSp>
        <p:nvCxnSpPr>
          <p:cNvPr id="20" name="Google Shape;841;p28">
            <a:extLst>
              <a:ext uri="{FF2B5EF4-FFF2-40B4-BE49-F238E27FC236}">
                <a16:creationId xmlns:a16="http://schemas.microsoft.com/office/drawing/2014/main" id="{36726A0E-3367-226F-67B7-4BAD26394093}"/>
              </a:ext>
            </a:extLst>
          </p:cNvPr>
          <p:cNvCxnSpPr>
            <a:stCxn id="22" idx="3"/>
          </p:cNvCxnSpPr>
          <p:nvPr/>
        </p:nvCxnSpPr>
        <p:spPr>
          <a:xfrm>
            <a:off x="3337061" y="3587738"/>
            <a:ext cx="773086" cy="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21" name="Google Shape;843;p28">
            <a:extLst>
              <a:ext uri="{FF2B5EF4-FFF2-40B4-BE49-F238E27FC236}">
                <a16:creationId xmlns:a16="http://schemas.microsoft.com/office/drawing/2014/main" id="{84C82C88-ED9B-2787-D3E7-BB500B1CAE0F}"/>
              </a:ext>
            </a:extLst>
          </p:cNvPr>
          <p:cNvSpPr txBox="1"/>
          <p:nvPr/>
        </p:nvSpPr>
        <p:spPr>
          <a:xfrm>
            <a:off x="1076248" y="3690662"/>
            <a:ext cx="2260811" cy="675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  <a:endParaRPr lang="pt-BR" sz="1200" dirty="0">
              <a:solidFill>
                <a:schemeClr val="bg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" name="Google Shape;842;p28">
            <a:extLst>
              <a:ext uri="{FF2B5EF4-FFF2-40B4-BE49-F238E27FC236}">
                <a16:creationId xmlns:a16="http://schemas.microsoft.com/office/drawing/2014/main" id="{97E2DAB5-7C3B-B2A0-09FF-A6EC8C0CB0E8}"/>
              </a:ext>
            </a:extLst>
          </p:cNvPr>
          <p:cNvSpPr txBox="1"/>
          <p:nvPr/>
        </p:nvSpPr>
        <p:spPr>
          <a:xfrm>
            <a:off x="1076251" y="3463441"/>
            <a:ext cx="2260811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r"/>
            <a:r>
              <a:rPr lang="en-IN" sz="1800" b="1" dirty="0">
                <a:solidFill>
                  <a:schemeClr val="bg2"/>
                </a:solidFill>
              </a:rPr>
              <a:t>Lorem Ipsum</a:t>
            </a:r>
          </a:p>
        </p:txBody>
      </p:sp>
      <p:sp>
        <p:nvSpPr>
          <p:cNvPr id="23" name="Google Shape;845;p28">
            <a:extLst>
              <a:ext uri="{FF2B5EF4-FFF2-40B4-BE49-F238E27FC236}">
                <a16:creationId xmlns:a16="http://schemas.microsoft.com/office/drawing/2014/main" id="{001C83EA-F2B9-E65C-CAA3-0AF20092E49C}"/>
              </a:ext>
            </a:extLst>
          </p:cNvPr>
          <p:cNvSpPr/>
          <p:nvPr/>
        </p:nvSpPr>
        <p:spPr>
          <a:xfrm>
            <a:off x="4406313" y="1854063"/>
            <a:ext cx="3379373" cy="1088568"/>
          </a:xfrm>
          <a:custGeom>
            <a:avLst/>
            <a:gdLst/>
            <a:ahLst/>
            <a:cxnLst/>
            <a:rect l="l" t="t" r="r" b="b"/>
            <a:pathLst>
              <a:path w="140835" h="48135" extrusionOk="0">
                <a:moveTo>
                  <a:pt x="121721" y="39929"/>
                </a:moveTo>
                <a:lnTo>
                  <a:pt x="0" y="39929"/>
                </a:lnTo>
                <a:lnTo>
                  <a:pt x="17613" y="9407"/>
                </a:lnTo>
                <a:cubicBezTo>
                  <a:pt x="20982" y="3603"/>
                  <a:pt x="27153" y="0"/>
                  <a:pt x="33858" y="0"/>
                </a:cubicBezTo>
                <a:lnTo>
                  <a:pt x="102207" y="0"/>
                </a:lnTo>
                <a:cubicBezTo>
                  <a:pt x="108912" y="0"/>
                  <a:pt x="115116" y="3603"/>
                  <a:pt x="118452" y="9407"/>
                </a:cubicBezTo>
                <a:lnTo>
                  <a:pt x="140834" y="48134"/>
                </a:lnTo>
                <a:cubicBezTo>
                  <a:pt x="138900" y="45766"/>
                  <a:pt x="132995" y="39929"/>
                  <a:pt x="121721" y="3992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4" name="Google Shape;846;p28">
            <a:extLst>
              <a:ext uri="{FF2B5EF4-FFF2-40B4-BE49-F238E27FC236}">
                <a16:creationId xmlns:a16="http://schemas.microsoft.com/office/drawing/2014/main" id="{2A8205B8-5D48-DD73-69F2-37682AF6DC34}"/>
              </a:ext>
            </a:extLst>
          </p:cNvPr>
          <p:cNvSpPr/>
          <p:nvPr/>
        </p:nvSpPr>
        <p:spPr>
          <a:xfrm>
            <a:off x="3926045" y="1854809"/>
            <a:ext cx="2363630" cy="2665210"/>
          </a:xfrm>
          <a:custGeom>
            <a:avLst/>
            <a:gdLst/>
            <a:ahLst/>
            <a:cxnLst/>
            <a:rect l="l" t="t" r="r" b="b"/>
            <a:pathLst>
              <a:path w="98504" h="117852" extrusionOk="0">
                <a:moveTo>
                  <a:pt x="53772" y="0"/>
                </a:moveTo>
                <a:lnTo>
                  <a:pt x="98504" y="0"/>
                </a:lnTo>
                <a:cubicBezTo>
                  <a:pt x="95468" y="467"/>
                  <a:pt x="87496" y="2669"/>
                  <a:pt x="81859" y="12409"/>
                </a:cubicBezTo>
                <a:cubicBezTo>
                  <a:pt x="66948" y="38228"/>
                  <a:pt x="38528" y="87463"/>
                  <a:pt x="20982" y="117851"/>
                </a:cubicBezTo>
                <a:lnTo>
                  <a:pt x="3369" y="87330"/>
                </a:lnTo>
                <a:cubicBezTo>
                  <a:pt x="0" y="81492"/>
                  <a:pt x="0" y="74354"/>
                  <a:pt x="3369" y="68549"/>
                </a:cubicBezTo>
                <a:lnTo>
                  <a:pt x="37527" y="9374"/>
                </a:lnTo>
                <a:cubicBezTo>
                  <a:pt x="40863" y="3570"/>
                  <a:pt x="47067" y="0"/>
                  <a:pt x="53772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5" name="Google Shape;847;p28">
            <a:extLst>
              <a:ext uri="{FF2B5EF4-FFF2-40B4-BE49-F238E27FC236}">
                <a16:creationId xmlns:a16="http://schemas.microsoft.com/office/drawing/2014/main" id="{A14E68B1-110A-AEDF-3596-96856F46B4D8}"/>
              </a:ext>
            </a:extLst>
          </p:cNvPr>
          <p:cNvSpPr/>
          <p:nvPr/>
        </p:nvSpPr>
        <p:spPr>
          <a:xfrm>
            <a:off x="3922829" y="2533024"/>
            <a:ext cx="2136321" cy="2851534"/>
          </a:xfrm>
          <a:custGeom>
            <a:avLst/>
            <a:gdLst/>
            <a:ahLst/>
            <a:cxnLst/>
            <a:rect l="l" t="t" r="r" b="b"/>
            <a:pathLst>
              <a:path w="89031" h="126091" extrusionOk="0">
                <a:moveTo>
                  <a:pt x="25719" y="0"/>
                </a:moveTo>
                <a:cubicBezTo>
                  <a:pt x="24618" y="2869"/>
                  <a:pt x="22517" y="10875"/>
                  <a:pt x="28154" y="20649"/>
                </a:cubicBezTo>
                <a:cubicBezTo>
                  <a:pt x="43065" y="46467"/>
                  <a:pt x="71485" y="95702"/>
                  <a:pt x="89031" y="126091"/>
                </a:cubicBezTo>
                <a:lnTo>
                  <a:pt x="53772" y="126091"/>
                </a:lnTo>
                <a:cubicBezTo>
                  <a:pt x="47068" y="126091"/>
                  <a:pt x="40863" y="122488"/>
                  <a:pt x="37528" y="116684"/>
                </a:cubicBezTo>
                <a:lnTo>
                  <a:pt x="3370" y="57508"/>
                </a:lnTo>
                <a:cubicBezTo>
                  <a:pt x="1" y="51704"/>
                  <a:pt x="1" y="44566"/>
                  <a:pt x="3370" y="387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6" name="Google Shape;848;p28">
            <a:extLst>
              <a:ext uri="{FF2B5EF4-FFF2-40B4-BE49-F238E27FC236}">
                <a16:creationId xmlns:a16="http://schemas.microsoft.com/office/drawing/2014/main" id="{DC6955E5-8210-B45B-E9EA-FE63251EC515}"/>
              </a:ext>
            </a:extLst>
          </p:cNvPr>
          <p:cNvSpPr/>
          <p:nvPr/>
        </p:nvSpPr>
        <p:spPr>
          <a:xfrm>
            <a:off x="4284651" y="4296092"/>
            <a:ext cx="3380164" cy="1088568"/>
          </a:xfrm>
          <a:custGeom>
            <a:avLst/>
            <a:gdLst/>
            <a:ahLst/>
            <a:cxnLst/>
            <a:rect l="l" t="t" r="r" b="b"/>
            <a:pathLst>
              <a:path w="140868" h="48135" extrusionOk="0">
                <a:moveTo>
                  <a:pt x="19114" y="8206"/>
                </a:moveTo>
                <a:lnTo>
                  <a:pt x="140867" y="8206"/>
                </a:lnTo>
                <a:lnTo>
                  <a:pt x="123221" y="38728"/>
                </a:lnTo>
                <a:cubicBezTo>
                  <a:pt x="119886" y="44532"/>
                  <a:pt x="113681" y="48135"/>
                  <a:pt x="106977" y="48135"/>
                </a:cubicBezTo>
                <a:lnTo>
                  <a:pt x="38628" y="48135"/>
                </a:lnTo>
                <a:cubicBezTo>
                  <a:pt x="31923" y="48135"/>
                  <a:pt x="25719" y="44532"/>
                  <a:pt x="22383" y="38728"/>
                </a:cubicBezTo>
                <a:lnTo>
                  <a:pt x="0" y="0"/>
                </a:lnTo>
                <a:cubicBezTo>
                  <a:pt x="1935" y="2369"/>
                  <a:pt x="7839" y="8206"/>
                  <a:pt x="19114" y="8206"/>
                </a:cubicBezTo>
                <a:close/>
              </a:path>
            </a:pathLst>
          </a:custGeom>
          <a:solidFill>
            <a:srgbClr val="A2D6B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7" name="Google Shape;849;p28">
            <a:extLst>
              <a:ext uri="{FF2B5EF4-FFF2-40B4-BE49-F238E27FC236}">
                <a16:creationId xmlns:a16="http://schemas.microsoft.com/office/drawing/2014/main" id="{D125870C-B42D-B114-5699-18B2A84D66E2}"/>
              </a:ext>
            </a:extLst>
          </p:cNvPr>
          <p:cNvSpPr/>
          <p:nvPr/>
        </p:nvSpPr>
        <p:spPr>
          <a:xfrm>
            <a:off x="5782304" y="2865730"/>
            <a:ext cx="2364445" cy="2518846"/>
          </a:xfrm>
          <a:custGeom>
            <a:avLst/>
            <a:gdLst/>
            <a:ahLst/>
            <a:cxnLst/>
            <a:rect l="l" t="t" r="r" b="b"/>
            <a:pathLst>
              <a:path w="98538" h="111380" extrusionOk="0">
                <a:moveTo>
                  <a:pt x="95168" y="24051"/>
                </a:moveTo>
                <a:lnTo>
                  <a:pt x="84194" y="5037"/>
                </a:lnTo>
                <a:cubicBezTo>
                  <a:pt x="82726" y="5004"/>
                  <a:pt x="81192" y="4637"/>
                  <a:pt x="80124" y="3869"/>
                </a:cubicBezTo>
                <a:cubicBezTo>
                  <a:pt x="79157" y="3169"/>
                  <a:pt x="78256" y="2402"/>
                  <a:pt x="77356" y="1635"/>
                </a:cubicBezTo>
                <a:cubicBezTo>
                  <a:pt x="76255" y="967"/>
                  <a:pt x="74987" y="534"/>
                  <a:pt x="73820" y="0"/>
                </a:cubicBezTo>
                <a:cubicBezTo>
                  <a:pt x="56207" y="30522"/>
                  <a:pt x="30556" y="74887"/>
                  <a:pt x="16679" y="98938"/>
                </a:cubicBezTo>
                <a:cubicBezTo>
                  <a:pt x="11042" y="108711"/>
                  <a:pt x="3069" y="110879"/>
                  <a:pt x="0" y="111380"/>
                </a:cubicBezTo>
                <a:lnTo>
                  <a:pt x="44766" y="111380"/>
                </a:lnTo>
                <a:cubicBezTo>
                  <a:pt x="51470" y="111380"/>
                  <a:pt x="57675" y="107777"/>
                  <a:pt x="61011" y="101973"/>
                </a:cubicBezTo>
                <a:lnTo>
                  <a:pt x="95202" y="42797"/>
                </a:lnTo>
                <a:cubicBezTo>
                  <a:pt x="98537" y="36993"/>
                  <a:pt x="98537" y="29855"/>
                  <a:pt x="95168" y="24051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8" name="Google Shape;850;p28">
            <a:extLst>
              <a:ext uri="{FF2B5EF4-FFF2-40B4-BE49-F238E27FC236}">
                <a16:creationId xmlns:a16="http://schemas.microsoft.com/office/drawing/2014/main" id="{D627D125-331D-59D2-04B5-AEC0719683AA}"/>
              </a:ext>
            </a:extLst>
          </p:cNvPr>
          <p:cNvSpPr/>
          <p:nvPr/>
        </p:nvSpPr>
        <p:spPr>
          <a:xfrm>
            <a:off x="6565964" y="2757082"/>
            <a:ext cx="1583232" cy="1948567"/>
          </a:xfrm>
          <a:custGeom>
            <a:avLst/>
            <a:gdLst/>
            <a:ahLst/>
            <a:cxnLst/>
            <a:rect l="l" t="t" r="r" b="b"/>
            <a:pathLst>
              <a:path w="65981" h="86163" extrusionOk="0">
                <a:moveTo>
                  <a:pt x="0" y="1"/>
                </a:moveTo>
                <a:lnTo>
                  <a:pt x="31723" y="1"/>
                </a:lnTo>
                <a:cubicBezTo>
                  <a:pt x="42997" y="1"/>
                  <a:pt x="48902" y="5838"/>
                  <a:pt x="50836" y="8240"/>
                </a:cubicBezTo>
                <a:lnTo>
                  <a:pt x="62645" y="28654"/>
                </a:lnTo>
                <a:cubicBezTo>
                  <a:pt x="65980" y="34459"/>
                  <a:pt x="65980" y="41630"/>
                  <a:pt x="62645" y="47435"/>
                </a:cubicBezTo>
                <a:lnTo>
                  <a:pt x="40262" y="86162"/>
                </a:lnTo>
                <a:cubicBezTo>
                  <a:pt x="41363" y="83294"/>
                  <a:pt x="43464" y="75288"/>
                  <a:pt x="37827" y="65514"/>
                </a:cubicBezTo>
                <a:cubicBezTo>
                  <a:pt x="28520" y="49403"/>
                  <a:pt x="13943" y="24118"/>
                  <a:pt x="0" y="1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</a:endParaRPr>
          </a:p>
        </p:txBody>
      </p:sp>
      <p:sp>
        <p:nvSpPr>
          <p:cNvPr id="29" name="Google Shape;851;p28">
            <a:extLst>
              <a:ext uri="{FF2B5EF4-FFF2-40B4-BE49-F238E27FC236}">
                <a16:creationId xmlns:a16="http://schemas.microsoft.com/office/drawing/2014/main" id="{DB751858-2578-A7AA-504A-E666DEDFBF5E}"/>
              </a:ext>
            </a:extLst>
          </p:cNvPr>
          <p:cNvSpPr txBox="1">
            <a:spLocks/>
          </p:cNvSpPr>
          <p:nvPr/>
        </p:nvSpPr>
        <p:spPr>
          <a:xfrm>
            <a:off x="7163008" y="3322218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3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0" name="Google Shape;852;p28">
            <a:extLst>
              <a:ext uri="{FF2B5EF4-FFF2-40B4-BE49-F238E27FC236}">
                <a16:creationId xmlns:a16="http://schemas.microsoft.com/office/drawing/2014/main" id="{DB1BB440-9590-7738-5540-56D179F473A0}"/>
              </a:ext>
            </a:extLst>
          </p:cNvPr>
          <p:cNvSpPr txBox="1">
            <a:spLocks/>
          </p:cNvSpPr>
          <p:nvPr/>
        </p:nvSpPr>
        <p:spPr>
          <a:xfrm>
            <a:off x="6135180" y="2274050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2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1" name="Google Shape;853;p28">
            <a:extLst>
              <a:ext uri="{FF2B5EF4-FFF2-40B4-BE49-F238E27FC236}">
                <a16:creationId xmlns:a16="http://schemas.microsoft.com/office/drawing/2014/main" id="{A2EF1D02-C003-B726-D270-6ECD589ABE78}"/>
              </a:ext>
            </a:extLst>
          </p:cNvPr>
          <p:cNvSpPr txBox="1">
            <a:spLocks/>
          </p:cNvSpPr>
          <p:nvPr/>
        </p:nvSpPr>
        <p:spPr>
          <a:xfrm>
            <a:off x="4761501" y="2433042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1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2" name="Google Shape;854;p28">
            <a:extLst>
              <a:ext uri="{FF2B5EF4-FFF2-40B4-BE49-F238E27FC236}">
                <a16:creationId xmlns:a16="http://schemas.microsoft.com/office/drawing/2014/main" id="{BA74E028-A038-3ADA-1FBC-038025CC46BE}"/>
              </a:ext>
            </a:extLst>
          </p:cNvPr>
          <p:cNvSpPr txBox="1">
            <a:spLocks/>
          </p:cNvSpPr>
          <p:nvPr/>
        </p:nvSpPr>
        <p:spPr>
          <a:xfrm>
            <a:off x="4183110" y="3652788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6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3" name="Google Shape;855;p28">
            <a:extLst>
              <a:ext uri="{FF2B5EF4-FFF2-40B4-BE49-F238E27FC236}">
                <a16:creationId xmlns:a16="http://schemas.microsoft.com/office/drawing/2014/main" id="{1F863303-9B9D-7BAA-FD68-487A37C11832}"/>
              </a:ext>
            </a:extLst>
          </p:cNvPr>
          <p:cNvSpPr txBox="1">
            <a:spLocks/>
          </p:cNvSpPr>
          <p:nvPr/>
        </p:nvSpPr>
        <p:spPr>
          <a:xfrm>
            <a:off x="5062746" y="4799808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5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34" name="Google Shape;856;p28">
            <a:extLst>
              <a:ext uri="{FF2B5EF4-FFF2-40B4-BE49-F238E27FC236}">
                <a16:creationId xmlns:a16="http://schemas.microsoft.com/office/drawing/2014/main" id="{AFAC04F8-3D13-AF7F-949C-5EF5DF0083AD}"/>
              </a:ext>
            </a:extLst>
          </p:cNvPr>
          <p:cNvSpPr txBox="1">
            <a:spLocks/>
          </p:cNvSpPr>
          <p:nvPr/>
        </p:nvSpPr>
        <p:spPr>
          <a:xfrm>
            <a:off x="6532824" y="4799808"/>
            <a:ext cx="736272" cy="248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chemeClr val="bg2"/>
                </a:solidFill>
                <a:latin typeface="Calibri" panose="020F0502020204030204" pitchFamily="34" charset="0"/>
                <a:ea typeface="Fira Sans Extra Condensed"/>
                <a:cs typeface="Fira Sans Extra Condensed"/>
                <a:sym typeface="Fira Sans Extra Condensed"/>
              </a:rPr>
              <a:t>4</a:t>
            </a:r>
            <a:endParaRPr sz="2000" b="1">
              <a:solidFill>
                <a:schemeClr val="bg2"/>
              </a:solidFill>
              <a:latin typeface="Calibri" panose="020F0502020204030204" pitchFamily="34" charset="0"/>
              <a:ea typeface="Fira Sans Extra Condensed"/>
              <a:cs typeface="Fira Sans Extra Condensed"/>
              <a:sym typeface="Fira Sans Extra Condensed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42132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CFC11AA-D27D-6AAB-AA79-D692184A618D}"/>
              </a:ext>
            </a:extLst>
          </p:cNvPr>
          <p:cNvSpPr>
            <a:spLocks/>
          </p:cNvSpPr>
          <p:nvPr/>
        </p:nvSpPr>
        <p:spPr>
          <a:xfrm>
            <a:off x="4913221" y="2468495"/>
            <a:ext cx="1181494" cy="988126"/>
          </a:xfrm>
          <a:custGeom>
            <a:avLst/>
            <a:gdLst>
              <a:gd name="connsiteX0" fmla="*/ 3260925 w 3257794"/>
              <a:gd name="connsiteY0" fmla="*/ 1166251 h 2724611"/>
              <a:gd name="connsiteX1" fmla="*/ 3260925 w 3257794"/>
              <a:gd name="connsiteY1" fmla="*/ 0 h 2724611"/>
              <a:gd name="connsiteX2" fmla="*/ 0 w 3257794"/>
              <a:gd name="connsiteY2" fmla="*/ 2368309 h 2724611"/>
              <a:gd name="connsiteX3" fmla="*/ 1109460 w 3257794"/>
              <a:gd name="connsiteY3" fmla="*/ 2728770 h 2724611"/>
              <a:gd name="connsiteX4" fmla="*/ 3260925 w 3257794"/>
              <a:gd name="connsiteY4" fmla="*/ 1166251 h 2724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7794" h="2724611">
                <a:moveTo>
                  <a:pt x="3260925" y="1166251"/>
                </a:moveTo>
                <a:lnTo>
                  <a:pt x="3260925" y="0"/>
                </a:lnTo>
                <a:cubicBezTo>
                  <a:pt x="1737637" y="245"/>
                  <a:pt x="446504" y="993872"/>
                  <a:pt x="0" y="2368309"/>
                </a:cubicBezTo>
                <a:lnTo>
                  <a:pt x="1109460" y="2728770"/>
                </a:lnTo>
                <a:cubicBezTo>
                  <a:pt x="1404080" y="1822017"/>
                  <a:pt x="2255901" y="1166447"/>
                  <a:pt x="3260925" y="1166251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0230919A-FD6C-7D17-49EE-CF21FCB64D89}"/>
              </a:ext>
            </a:extLst>
          </p:cNvPr>
          <p:cNvSpPr>
            <a:spLocks/>
          </p:cNvSpPr>
          <p:nvPr/>
        </p:nvSpPr>
        <p:spPr>
          <a:xfrm>
            <a:off x="5364885" y="4375507"/>
            <a:ext cx="1461788" cy="578329"/>
          </a:xfrm>
          <a:custGeom>
            <a:avLst/>
            <a:gdLst>
              <a:gd name="connsiteX0" fmla="*/ 2016017 w 4030664"/>
              <a:gd name="connsiteY0" fmla="*/ 432416 h 1594656"/>
              <a:gd name="connsiteX1" fmla="*/ 685555 w 4030664"/>
              <a:gd name="connsiteY1" fmla="*/ 0 h 1594656"/>
              <a:gd name="connsiteX2" fmla="*/ 0 w 4030664"/>
              <a:gd name="connsiteY2" fmla="*/ 943587 h 1594656"/>
              <a:gd name="connsiteX3" fmla="*/ 2015968 w 4030664"/>
              <a:gd name="connsiteY3" fmla="*/ 1598668 h 1594656"/>
              <a:gd name="connsiteX4" fmla="*/ 4031252 w 4030664"/>
              <a:gd name="connsiteY4" fmla="*/ 944125 h 1594656"/>
              <a:gd name="connsiteX5" fmla="*/ 3345696 w 4030664"/>
              <a:gd name="connsiteY5" fmla="*/ 538 h 1594656"/>
              <a:gd name="connsiteX6" fmla="*/ 2016017 w 4030664"/>
              <a:gd name="connsiteY6" fmla="*/ 432416 h 1594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30664" h="1594656">
                <a:moveTo>
                  <a:pt x="2016017" y="432416"/>
                </a:moveTo>
                <a:cubicBezTo>
                  <a:pt x="1518739" y="432416"/>
                  <a:pt x="1058930" y="271972"/>
                  <a:pt x="685555" y="0"/>
                </a:cubicBezTo>
                <a:lnTo>
                  <a:pt x="0" y="943587"/>
                </a:lnTo>
                <a:cubicBezTo>
                  <a:pt x="565810" y="1355605"/>
                  <a:pt x="1262518" y="1598668"/>
                  <a:pt x="2015968" y="1598668"/>
                </a:cubicBezTo>
                <a:cubicBezTo>
                  <a:pt x="2769125" y="1598668"/>
                  <a:pt x="3465589" y="1355800"/>
                  <a:pt x="4031252" y="944125"/>
                </a:cubicBezTo>
                <a:lnTo>
                  <a:pt x="3345696" y="538"/>
                </a:lnTo>
                <a:cubicBezTo>
                  <a:pt x="2972518" y="272168"/>
                  <a:pt x="2513002" y="432416"/>
                  <a:pt x="2016017" y="432416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F29C65E-2C16-C017-200B-6FDEF0A18D1F}"/>
              </a:ext>
            </a:extLst>
          </p:cNvPr>
          <p:cNvSpPr>
            <a:spLocks/>
          </p:cNvSpPr>
          <p:nvPr/>
        </p:nvSpPr>
        <p:spPr>
          <a:xfrm>
            <a:off x="6095832" y="2468495"/>
            <a:ext cx="1181494" cy="988126"/>
          </a:xfrm>
          <a:custGeom>
            <a:avLst/>
            <a:gdLst>
              <a:gd name="connsiteX0" fmla="*/ 538 w 3257794"/>
              <a:gd name="connsiteY0" fmla="*/ 1166251 h 2724611"/>
              <a:gd name="connsiteX1" fmla="*/ 2152395 w 3257794"/>
              <a:gd name="connsiteY1" fmla="*/ 2728525 h 2724611"/>
              <a:gd name="connsiteX2" fmla="*/ 3261855 w 3257794"/>
              <a:gd name="connsiteY2" fmla="*/ 2368065 h 2724611"/>
              <a:gd name="connsiteX3" fmla="*/ 538 w 3257794"/>
              <a:gd name="connsiteY3" fmla="*/ 0 h 2724611"/>
              <a:gd name="connsiteX4" fmla="*/ 0 w 3257794"/>
              <a:gd name="connsiteY4" fmla="*/ 0 h 2724611"/>
              <a:gd name="connsiteX5" fmla="*/ 0 w 3257794"/>
              <a:gd name="connsiteY5" fmla="*/ 1166251 h 2724611"/>
              <a:gd name="connsiteX6" fmla="*/ 538 w 3257794"/>
              <a:gd name="connsiteY6" fmla="*/ 1166251 h 2724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57794" h="2724611">
                <a:moveTo>
                  <a:pt x="538" y="1166251"/>
                </a:moveTo>
                <a:cubicBezTo>
                  <a:pt x="1005661" y="1166251"/>
                  <a:pt x="1857628" y="1821724"/>
                  <a:pt x="2152395" y="2728525"/>
                </a:cubicBezTo>
                <a:lnTo>
                  <a:pt x="3261855" y="2368065"/>
                </a:lnTo>
                <a:cubicBezTo>
                  <a:pt x="2815253" y="993578"/>
                  <a:pt x="1523924" y="0"/>
                  <a:pt x="538" y="0"/>
                </a:cubicBezTo>
                <a:cubicBezTo>
                  <a:pt x="342" y="0"/>
                  <a:pt x="196" y="0"/>
                  <a:pt x="0" y="0"/>
                </a:cubicBezTo>
                <a:lnTo>
                  <a:pt x="0" y="1166251"/>
                </a:lnTo>
                <a:cubicBezTo>
                  <a:pt x="196" y="1166251"/>
                  <a:pt x="391" y="1166251"/>
                  <a:pt x="538" y="1166251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63CAD3F-18C0-4316-06B2-1329F7173AED}"/>
              </a:ext>
            </a:extLst>
          </p:cNvPr>
          <p:cNvSpPr>
            <a:spLocks/>
          </p:cNvSpPr>
          <p:nvPr/>
        </p:nvSpPr>
        <p:spPr>
          <a:xfrm>
            <a:off x="6578310" y="3327295"/>
            <a:ext cx="761052" cy="1389053"/>
          </a:xfrm>
          <a:custGeom>
            <a:avLst/>
            <a:gdLst>
              <a:gd name="connsiteX0" fmla="*/ 2098685 w 2098489"/>
              <a:gd name="connsiteY0" fmla="*/ 1060446 h 3830109"/>
              <a:gd name="connsiteX1" fmla="*/ 1931540 w 2098489"/>
              <a:gd name="connsiteY1" fmla="*/ 0 h 3830109"/>
              <a:gd name="connsiteX2" fmla="*/ 822080 w 2098489"/>
              <a:gd name="connsiteY2" fmla="*/ 360461 h 3830109"/>
              <a:gd name="connsiteX3" fmla="*/ 932483 w 2098489"/>
              <a:gd name="connsiteY3" fmla="*/ 1060446 h 3830109"/>
              <a:gd name="connsiteX4" fmla="*/ 0 w 2098489"/>
              <a:gd name="connsiteY4" fmla="*/ 2890779 h 3830109"/>
              <a:gd name="connsiteX5" fmla="*/ 685556 w 2098489"/>
              <a:gd name="connsiteY5" fmla="*/ 3834365 h 3830109"/>
              <a:gd name="connsiteX6" fmla="*/ 2098685 w 2098489"/>
              <a:gd name="connsiteY6" fmla="*/ 1060446 h 3830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8489" h="3830109">
                <a:moveTo>
                  <a:pt x="2098685" y="1060446"/>
                </a:moveTo>
                <a:cubicBezTo>
                  <a:pt x="2098685" y="690349"/>
                  <a:pt x="2040035" y="333899"/>
                  <a:pt x="1931540" y="0"/>
                </a:cubicBezTo>
                <a:lnTo>
                  <a:pt x="822080" y="360461"/>
                </a:lnTo>
                <a:cubicBezTo>
                  <a:pt x="893741" y="580875"/>
                  <a:pt x="932483" y="816161"/>
                  <a:pt x="932483" y="1060446"/>
                </a:cubicBezTo>
                <a:cubicBezTo>
                  <a:pt x="932483" y="1812870"/>
                  <a:pt x="565125" y="2479544"/>
                  <a:pt x="0" y="2890779"/>
                </a:cubicBezTo>
                <a:lnTo>
                  <a:pt x="685556" y="3834365"/>
                </a:lnTo>
                <a:cubicBezTo>
                  <a:pt x="1541974" y="3211080"/>
                  <a:pt x="2098685" y="2200821"/>
                  <a:pt x="2098685" y="1060446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40E27CE5-AFE0-F164-E95F-A9AF4E77F9A1}"/>
              </a:ext>
            </a:extLst>
          </p:cNvPr>
          <p:cNvSpPr>
            <a:spLocks/>
          </p:cNvSpPr>
          <p:nvPr/>
        </p:nvSpPr>
        <p:spPr>
          <a:xfrm>
            <a:off x="4852638" y="3327402"/>
            <a:ext cx="759278" cy="1389053"/>
          </a:xfrm>
          <a:custGeom>
            <a:avLst/>
            <a:gdLst>
              <a:gd name="connsiteX0" fmla="*/ 1166251 w 2093597"/>
              <a:gd name="connsiteY0" fmla="*/ 1060153 h 3830109"/>
              <a:gd name="connsiteX1" fmla="*/ 1276508 w 2093597"/>
              <a:gd name="connsiteY1" fmla="*/ 360461 h 3830109"/>
              <a:gd name="connsiteX2" fmla="*/ 167048 w 2093597"/>
              <a:gd name="connsiteY2" fmla="*/ 0 h 3830109"/>
              <a:gd name="connsiteX3" fmla="*/ 0 w 2093597"/>
              <a:gd name="connsiteY3" fmla="*/ 1060153 h 3830109"/>
              <a:gd name="connsiteX4" fmla="*/ 1412494 w 2093597"/>
              <a:gd name="connsiteY4" fmla="*/ 3833583 h 3830109"/>
              <a:gd name="connsiteX5" fmla="*/ 2098049 w 2093597"/>
              <a:gd name="connsiteY5" fmla="*/ 2889996 h 3830109"/>
              <a:gd name="connsiteX6" fmla="*/ 1166251 w 2093597"/>
              <a:gd name="connsiteY6" fmla="*/ 1060153 h 3830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93597" h="3830109">
                <a:moveTo>
                  <a:pt x="1166251" y="1060153"/>
                </a:moveTo>
                <a:cubicBezTo>
                  <a:pt x="1166251" y="815965"/>
                  <a:pt x="1204944" y="580827"/>
                  <a:pt x="1276508" y="360461"/>
                </a:cubicBezTo>
                <a:lnTo>
                  <a:pt x="167048" y="0"/>
                </a:lnTo>
                <a:cubicBezTo>
                  <a:pt x="58601" y="333850"/>
                  <a:pt x="0" y="690154"/>
                  <a:pt x="0" y="1060153"/>
                </a:cubicBezTo>
                <a:cubicBezTo>
                  <a:pt x="0" y="2200185"/>
                  <a:pt x="556418" y="3210200"/>
                  <a:pt x="1412494" y="3833583"/>
                </a:cubicBezTo>
                <a:lnTo>
                  <a:pt x="2098049" y="2889996"/>
                </a:lnTo>
                <a:cubicBezTo>
                  <a:pt x="1533267" y="2478712"/>
                  <a:pt x="1166251" y="1812332"/>
                  <a:pt x="1166251" y="1060153"/>
                </a:cubicBezTo>
                <a:close/>
              </a:path>
            </a:pathLst>
          </a:custGeom>
          <a:solidFill>
            <a:schemeClr val="tx1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C1A4562-9433-FBC0-AEA1-71F61CFE4AF5}"/>
              </a:ext>
            </a:extLst>
          </p:cNvPr>
          <p:cNvSpPr txBox="1"/>
          <p:nvPr/>
        </p:nvSpPr>
        <p:spPr>
          <a:xfrm>
            <a:off x="5163048" y="2686224"/>
            <a:ext cx="460829" cy="4234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3E5E749-9720-F302-9704-0B99810D4A89}"/>
              </a:ext>
            </a:extLst>
          </p:cNvPr>
          <p:cNvSpPr txBox="1"/>
          <p:nvPr/>
        </p:nvSpPr>
        <p:spPr>
          <a:xfrm>
            <a:off x="6567680" y="2686224"/>
            <a:ext cx="460829" cy="4234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14202D-7EB8-ECFF-1A1A-0401B20CB183}"/>
              </a:ext>
            </a:extLst>
          </p:cNvPr>
          <p:cNvSpPr txBox="1"/>
          <p:nvPr/>
        </p:nvSpPr>
        <p:spPr>
          <a:xfrm>
            <a:off x="4888403" y="3772919"/>
            <a:ext cx="460829" cy="4234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BDCE277-4A2D-C7D7-FE60-FD1ACFA89A26}"/>
              </a:ext>
            </a:extLst>
          </p:cNvPr>
          <p:cNvSpPr txBox="1"/>
          <p:nvPr/>
        </p:nvSpPr>
        <p:spPr>
          <a:xfrm>
            <a:off x="6842325" y="3772919"/>
            <a:ext cx="460829" cy="4234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E3D13FB-3C2F-A1C3-77F1-98CB4E6D7E6A}"/>
              </a:ext>
            </a:extLst>
          </p:cNvPr>
          <p:cNvSpPr txBox="1"/>
          <p:nvPr/>
        </p:nvSpPr>
        <p:spPr>
          <a:xfrm>
            <a:off x="5861357" y="4504623"/>
            <a:ext cx="460829" cy="42344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056810-DF43-8E26-6112-6AD0183E35B0}"/>
              </a:ext>
            </a:extLst>
          </p:cNvPr>
          <p:cNvSpPr txBox="1"/>
          <p:nvPr/>
        </p:nvSpPr>
        <p:spPr>
          <a:xfrm>
            <a:off x="554732" y="3772919"/>
            <a:ext cx="3587635" cy="11717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8400666-5DCE-6732-DB3F-253FA5DF49B1}"/>
              </a:ext>
            </a:extLst>
          </p:cNvPr>
          <p:cNvSpPr txBox="1"/>
          <p:nvPr/>
        </p:nvSpPr>
        <p:spPr>
          <a:xfrm>
            <a:off x="8049625" y="3772919"/>
            <a:ext cx="3587635" cy="11717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BCC1A09-8667-C615-D59B-2F68BD088E1A}"/>
              </a:ext>
            </a:extLst>
          </p:cNvPr>
          <p:cNvSpPr txBox="1"/>
          <p:nvPr/>
        </p:nvSpPr>
        <p:spPr>
          <a:xfrm>
            <a:off x="8049624" y="1697974"/>
            <a:ext cx="3587635" cy="11717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CDE04DD-45ED-5E5D-30B1-19A5B2B765AA}"/>
              </a:ext>
            </a:extLst>
          </p:cNvPr>
          <p:cNvSpPr txBox="1"/>
          <p:nvPr/>
        </p:nvSpPr>
        <p:spPr>
          <a:xfrm>
            <a:off x="552557" y="1697974"/>
            <a:ext cx="3587635" cy="11717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04B0B74-63A8-0278-A743-31CEA5F3B6C3}"/>
              </a:ext>
            </a:extLst>
          </p:cNvPr>
          <p:cNvSpPr txBox="1"/>
          <p:nvPr/>
        </p:nvSpPr>
        <p:spPr>
          <a:xfrm>
            <a:off x="4297953" y="5355674"/>
            <a:ext cx="3587635" cy="89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 fringilla, faucibus risus quis, tempus metus. 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0CC458EC-7246-B177-4920-FD1B001988CE}"/>
              </a:ext>
            </a:extLst>
          </p:cNvPr>
          <p:cNvCxnSpPr>
            <a:stCxn id="47" idx="2"/>
            <a:endCxn id="82" idx="0"/>
          </p:cNvCxnSpPr>
          <p:nvPr/>
        </p:nvCxnSpPr>
        <p:spPr>
          <a:xfrm flipH="1">
            <a:off x="6091771" y="4928072"/>
            <a:ext cx="1" cy="4276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FEAE1AF-A392-9A19-027B-BBA31DC81996}"/>
              </a:ext>
            </a:extLst>
          </p:cNvPr>
          <p:cNvSpPr txBox="1"/>
          <p:nvPr/>
        </p:nvSpPr>
        <p:spPr>
          <a:xfrm>
            <a:off x="5460113" y="3313781"/>
            <a:ext cx="1270000" cy="79278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me Title Here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D7797541-7662-EADB-C9F4-BA06FDA1DD87}"/>
              </a:ext>
            </a:extLst>
          </p:cNvPr>
          <p:cNvCxnSpPr>
            <a:stCxn id="45" idx="1"/>
            <a:endCxn id="50" idx="3"/>
          </p:cNvCxnSpPr>
          <p:nvPr/>
        </p:nvCxnSpPr>
        <p:spPr>
          <a:xfrm flipH="1">
            <a:off x="4142367" y="3984644"/>
            <a:ext cx="746036" cy="374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B77C4ED-2163-2FE8-3A2F-D593678DF0AD}"/>
              </a:ext>
            </a:extLst>
          </p:cNvPr>
          <p:cNvCxnSpPr>
            <a:cxnSpLocks/>
            <a:stCxn id="43" idx="1"/>
            <a:endCxn id="75" idx="3"/>
          </p:cNvCxnSpPr>
          <p:nvPr/>
        </p:nvCxnSpPr>
        <p:spPr>
          <a:xfrm flipH="1" flipV="1">
            <a:off x="4140192" y="2283840"/>
            <a:ext cx="1022856" cy="614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E865D77B-33E9-32AD-C598-CF7C5DA23381}"/>
              </a:ext>
            </a:extLst>
          </p:cNvPr>
          <p:cNvCxnSpPr>
            <a:cxnSpLocks/>
            <a:stCxn id="44" idx="3"/>
            <a:endCxn id="71" idx="1"/>
          </p:cNvCxnSpPr>
          <p:nvPr/>
        </p:nvCxnSpPr>
        <p:spPr>
          <a:xfrm flipV="1">
            <a:off x="7028509" y="2283840"/>
            <a:ext cx="1021115" cy="614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EBAFB54E-0B95-3E43-D476-9EF91F13E5E6}"/>
              </a:ext>
            </a:extLst>
          </p:cNvPr>
          <p:cNvCxnSpPr>
            <a:cxnSpLocks/>
            <a:stCxn id="46" idx="3"/>
            <a:endCxn id="61" idx="1"/>
          </p:cNvCxnSpPr>
          <p:nvPr/>
        </p:nvCxnSpPr>
        <p:spPr>
          <a:xfrm>
            <a:off x="7303154" y="3984644"/>
            <a:ext cx="746471" cy="374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899616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3A3DDA-16CC-C8D3-9448-3C2DF5BDBC47}"/>
              </a:ext>
            </a:extLst>
          </p:cNvPr>
          <p:cNvSpPr txBox="1"/>
          <p:nvPr/>
        </p:nvSpPr>
        <p:spPr>
          <a:xfrm>
            <a:off x="8427364" y="3361633"/>
            <a:ext cx="1142847" cy="96836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2233CB1-3CB7-51B4-D948-81096491C465}"/>
              </a:ext>
            </a:extLst>
          </p:cNvPr>
          <p:cNvSpPr txBox="1"/>
          <p:nvPr/>
        </p:nvSpPr>
        <p:spPr>
          <a:xfrm>
            <a:off x="1489465" y="1596289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41D04E7-4393-36D4-71A7-A38A3043F248}"/>
              </a:ext>
            </a:extLst>
          </p:cNvPr>
          <p:cNvSpPr txBox="1"/>
          <p:nvPr/>
        </p:nvSpPr>
        <p:spPr>
          <a:xfrm>
            <a:off x="1489465" y="2373968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0B8892A-0B66-8401-D6AC-5C94B0B5CDA6}"/>
              </a:ext>
            </a:extLst>
          </p:cNvPr>
          <p:cNvSpPr txBox="1"/>
          <p:nvPr/>
        </p:nvSpPr>
        <p:spPr>
          <a:xfrm>
            <a:off x="1489465" y="3151647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508258-257B-06DE-4A4F-0637B6F0F01C}"/>
              </a:ext>
            </a:extLst>
          </p:cNvPr>
          <p:cNvSpPr txBox="1"/>
          <p:nvPr/>
        </p:nvSpPr>
        <p:spPr>
          <a:xfrm>
            <a:off x="1489465" y="3929326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8115F4D-3447-E756-BFB3-6866F4640370}"/>
              </a:ext>
            </a:extLst>
          </p:cNvPr>
          <p:cNvSpPr txBox="1"/>
          <p:nvPr/>
        </p:nvSpPr>
        <p:spPr>
          <a:xfrm>
            <a:off x="1489465" y="4707005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0346F7E-84EA-BEC9-2FEF-349134F18B48}"/>
              </a:ext>
            </a:extLst>
          </p:cNvPr>
          <p:cNvSpPr txBox="1"/>
          <p:nvPr/>
        </p:nvSpPr>
        <p:spPr>
          <a:xfrm>
            <a:off x="1489465" y="5484686"/>
            <a:ext cx="5071414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DED428B-AD8A-40FC-CD6D-6F1B4AA5FA2C}"/>
              </a:ext>
            </a:extLst>
          </p:cNvPr>
          <p:cNvGrpSpPr/>
          <p:nvPr/>
        </p:nvGrpSpPr>
        <p:grpSpPr>
          <a:xfrm>
            <a:off x="8133259" y="4586392"/>
            <a:ext cx="1731039" cy="1463513"/>
            <a:chOff x="8133259" y="4586392"/>
            <a:chExt cx="1731039" cy="1463513"/>
          </a:xfrm>
        </p:grpSpPr>
        <p:sp>
          <p:nvSpPr>
            <p:cNvPr id="8" name="Flowchart: Preparation 7">
              <a:extLst>
                <a:ext uri="{FF2B5EF4-FFF2-40B4-BE49-F238E27FC236}">
                  <a16:creationId xmlns:a16="http://schemas.microsoft.com/office/drawing/2014/main" id="{472622EF-F801-C406-09E4-756E6A58F8FA}"/>
                </a:ext>
              </a:extLst>
            </p:cNvPr>
            <p:cNvSpPr/>
            <p:nvPr/>
          </p:nvSpPr>
          <p:spPr>
            <a:xfrm>
              <a:off x="8133259" y="4586392"/>
              <a:ext cx="1731039" cy="1463513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9D12C60E-E26D-9785-E0F8-0E922597EA99}"/>
                </a:ext>
              </a:extLst>
            </p:cNvPr>
            <p:cNvPicPr>
              <a:picLocks/>
            </p:cNvPicPr>
            <p:nvPr>
              <p:custDataLst>
                <p:tags r:id="rId13"/>
              </p:custDataLst>
            </p:nvPr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678152" y="4997522"/>
              <a:ext cx="641253" cy="641253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3F0C638-0F7A-DE92-D0D3-3B1A516B9ED9}"/>
              </a:ext>
            </a:extLst>
          </p:cNvPr>
          <p:cNvGrpSpPr/>
          <p:nvPr/>
        </p:nvGrpSpPr>
        <p:grpSpPr>
          <a:xfrm>
            <a:off x="6763499" y="3846174"/>
            <a:ext cx="1731039" cy="1463513"/>
            <a:chOff x="6763499" y="3846174"/>
            <a:chExt cx="1731039" cy="1463513"/>
          </a:xfrm>
        </p:grpSpPr>
        <p:sp>
          <p:nvSpPr>
            <p:cNvPr id="9" name="Flowchart: Preparation 8">
              <a:extLst>
                <a:ext uri="{FF2B5EF4-FFF2-40B4-BE49-F238E27FC236}">
                  <a16:creationId xmlns:a16="http://schemas.microsoft.com/office/drawing/2014/main" id="{B9CE2A82-33C3-EA2A-17C7-BD9C8A367354}"/>
                </a:ext>
              </a:extLst>
            </p:cNvPr>
            <p:cNvSpPr/>
            <p:nvPr/>
          </p:nvSpPr>
          <p:spPr>
            <a:xfrm>
              <a:off x="6763499" y="3846174"/>
              <a:ext cx="1731039" cy="1463513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33E0BBB2-0FA4-74F5-4BCE-272886D78278}"/>
                </a:ext>
              </a:extLst>
            </p:cNvPr>
            <p:cNvPicPr>
              <a:picLocks/>
            </p:cNvPicPr>
            <p:nvPr>
              <p:custDataLst>
                <p:tags r:id="rId12"/>
              </p:custDataLst>
            </p:nvPr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308392" y="4257305"/>
              <a:ext cx="641253" cy="641253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6FEBFE6-B896-6697-11D2-E1212B0872A0}"/>
              </a:ext>
            </a:extLst>
          </p:cNvPr>
          <p:cNvGrpSpPr/>
          <p:nvPr/>
        </p:nvGrpSpPr>
        <p:grpSpPr>
          <a:xfrm>
            <a:off x="6766121" y="2384965"/>
            <a:ext cx="1731039" cy="1463513"/>
            <a:chOff x="6766121" y="2384965"/>
            <a:chExt cx="1731039" cy="1463513"/>
          </a:xfrm>
        </p:grpSpPr>
        <p:sp>
          <p:nvSpPr>
            <p:cNvPr id="4" name="Flowchart: Preparation 3">
              <a:extLst>
                <a:ext uri="{FF2B5EF4-FFF2-40B4-BE49-F238E27FC236}">
                  <a16:creationId xmlns:a16="http://schemas.microsoft.com/office/drawing/2014/main" id="{706447D1-851A-9A23-0673-82B265DE822D}"/>
                </a:ext>
              </a:extLst>
            </p:cNvPr>
            <p:cNvSpPr/>
            <p:nvPr/>
          </p:nvSpPr>
          <p:spPr>
            <a:xfrm>
              <a:off x="6766121" y="2384965"/>
              <a:ext cx="1731039" cy="1463513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6936DD6D-07CD-44C3-16F4-6F22E8774048}"/>
                </a:ext>
              </a:extLst>
            </p:cNvPr>
            <p:cNvPicPr>
              <a:picLocks/>
            </p:cNvPicPr>
            <p:nvPr>
              <p:custDataLst>
                <p:tags r:id="rId11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311014" y="2796095"/>
              <a:ext cx="641253" cy="641253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5ABB459-6AB2-4C03-4F4A-3BE8BE2EA0B7}"/>
              </a:ext>
            </a:extLst>
          </p:cNvPr>
          <p:cNvGrpSpPr/>
          <p:nvPr/>
        </p:nvGrpSpPr>
        <p:grpSpPr>
          <a:xfrm>
            <a:off x="9503018" y="3846174"/>
            <a:ext cx="1731039" cy="1463513"/>
            <a:chOff x="9503018" y="3846174"/>
            <a:chExt cx="1731039" cy="1463513"/>
          </a:xfrm>
        </p:grpSpPr>
        <p:sp>
          <p:nvSpPr>
            <p:cNvPr id="7" name="Flowchart: Preparation 6">
              <a:extLst>
                <a:ext uri="{FF2B5EF4-FFF2-40B4-BE49-F238E27FC236}">
                  <a16:creationId xmlns:a16="http://schemas.microsoft.com/office/drawing/2014/main" id="{C9193600-E939-D38D-6FA3-8FDB687E4D38}"/>
                </a:ext>
              </a:extLst>
            </p:cNvPr>
            <p:cNvSpPr/>
            <p:nvPr/>
          </p:nvSpPr>
          <p:spPr>
            <a:xfrm>
              <a:off x="9503018" y="3846174"/>
              <a:ext cx="1731039" cy="1463513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CB8EB418-6F27-1F3C-7A7B-FCB9975AA6C9}"/>
                </a:ext>
              </a:extLst>
            </p:cNvPr>
            <p:cNvPicPr>
              <a:picLocks/>
            </p:cNvPicPr>
            <p:nvPr>
              <p:custDataLst>
                <p:tags r:id="rId10"/>
              </p:custDataLst>
            </p:nvPr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047911" y="4257305"/>
              <a:ext cx="641253" cy="641253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299045F-44B6-8D50-ECFD-7BC62C4C80A0}"/>
              </a:ext>
            </a:extLst>
          </p:cNvPr>
          <p:cNvGrpSpPr/>
          <p:nvPr/>
        </p:nvGrpSpPr>
        <p:grpSpPr>
          <a:xfrm>
            <a:off x="9503018" y="2384965"/>
            <a:ext cx="1731039" cy="1463513"/>
            <a:chOff x="9503018" y="2384965"/>
            <a:chExt cx="1731039" cy="1463513"/>
          </a:xfrm>
        </p:grpSpPr>
        <p:sp>
          <p:nvSpPr>
            <p:cNvPr id="6" name="Flowchart: Preparation 5">
              <a:extLst>
                <a:ext uri="{FF2B5EF4-FFF2-40B4-BE49-F238E27FC236}">
                  <a16:creationId xmlns:a16="http://schemas.microsoft.com/office/drawing/2014/main" id="{2ECAD0BA-62B3-7897-4FAA-57F507E7CCBE}"/>
                </a:ext>
              </a:extLst>
            </p:cNvPr>
            <p:cNvSpPr/>
            <p:nvPr/>
          </p:nvSpPr>
          <p:spPr>
            <a:xfrm>
              <a:off x="9503018" y="2384965"/>
              <a:ext cx="1731039" cy="1463513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0D8F0A9F-022E-C83F-4CC9-87F32BB36D2D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047910" y="2796095"/>
              <a:ext cx="641253" cy="641253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1F9AB7C-73E1-15E5-9FC4-82CBDD0278FC}"/>
              </a:ext>
            </a:extLst>
          </p:cNvPr>
          <p:cNvGrpSpPr/>
          <p:nvPr/>
        </p:nvGrpSpPr>
        <p:grpSpPr>
          <a:xfrm>
            <a:off x="8133259" y="1641729"/>
            <a:ext cx="1731039" cy="1463513"/>
            <a:chOff x="8133259" y="1641729"/>
            <a:chExt cx="1731039" cy="1463513"/>
          </a:xfrm>
        </p:grpSpPr>
        <p:sp>
          <p:nvSpPr>
            <p:cNvPr id="3" name="Flowchart: Preparation 2">
              <a:extLst>
                <a:ext uri="{FF2B5EF4-FFF2-40B4-BE49-F238E27FC236}">
                  <a16:creationId xmlns:a16="http://schemas.microsoft.com/office/drawing/2014/main" id="{232A299A-BAC3-074B-F24D-CA4A6F1D9AD2}"/>
                </a:ext>
              </a:extLst>
            </p:cNvPr>
            <p:cNvSpPr/>
            <p:nvPr/>
          </p:nvSpPr>
          <p:spPr>
            <a:xfrm>
              <a:off x="8133259" y="1641729"/>
              <a:ext cx="1731039" cy="1463513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718C7671-84ED-E0FB-97AA-CF552B9BCB5E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678151" y="2052859"/>
              <a:ext cx="641253" cy="641253"/>
            </a:xfrm>
            <a:prstGeom prst="rect">
              <a:avLst/>
            </a:prstGeom>
          </p:spPr>
        </p:pic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BA8DE87-E4DD-10FB-3E5C-F386C26D5490}"/>
              </a:ext>
            </a:extLst>
          </p:cNvPr>
          <p:cNvGrpSpPr/>
          <p:nvPr/>
        </p:nvGrpSpPr>
        <p:grpSpPr>
          <a:xfrm>
            <a:off x="666952" y="3267443"/>
            <a:ext cx="667698" cy="546089"/>
            <a:chOff x="377347" y="3170778"/>
            <a:chExt cx="950861" cy="777679"/>
          </a:xfrm>
        </p:grpSpPr>
        <p:sp>
          <p:nvSpPr>
            <p:cNvPr id="71" name="Flowchart: Preparation 70">
              <a:extLst>
                <a:ext uri="{FF2B5EF4-FFF2-40B4-BE49-F238E27FC236}">
                  <a16:creationId xmlns:a16="http://schemas.microsoft.com/office/drawing/2014/main" id="{19E5725F-4E42-9B04-E7E0-D82816618A83}"/>
                </a:ext>
              </a:extLst>
            </p:cNvPr>
            <p:cNvSpPr/>
            <p:nvPr/>
          </p:nvSpPr>
          <p:spPr>
            <a:xfrm>
              <a:off x="377347" y="3170778"/>
              <a:ext cx="950861" cy="777679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5218790B-1EA2-A737-B262-381B7A0F132C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97817" y="3312976"/>
              <a:ext cx="509921" cy="493283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D050B04-F0C9-1991-7860-8542EEAC2786}"/>
              </a:ext>
            </a:extLst>
          </p:cNvPr>
          <p:cNvGrpSpPr/>
          <p:nvPr/>
        </p:nvGrpSpPr>
        <p:grpSpPr>
          <a:xfrm>
            <a:off x="666952" y="2489763"/>
            <a:ext cx="667698" cy="546089"/>
            <a:chOff x="377347" y="2393098"/>
            <a:chExt cx="950861" cy="777679"/>
          </a:xfrm>
        </p:grpSpPr>
        <p:sp>
          <p:nvSpPr>
            <p:cNvPr id="74" name="Flowchart: Preparation 73">
              <a:extLst>
                <a:ext uri="{FF2B5EF4-FFF2-40B4-BE49-F238E27FC236}">
                  <a16:creationId xmlns:a16="http://schemas.microsoft.com/office/drawing/2014/main" id="{346B5AD7-8BBA-0E6B-4A72-D6AF6BE64BBE}"/>
                </a:ext>
              </a:extLst>
            </p:cNvPr>
            <p:cNvSpPr/>
            <p:nvPr/>
          </p:nvSpPr>
          <p:spPr>
            <a:xfrm>
              <a:off x="377347" y="2393098"/>
              <a:ext cx="950861" cy="777679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A8B5F421-42F1-81EF-4D90-44C87E549806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97817" y="2535296"/>
              <a:ext cx="509921" cy="493283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2B50323-891C-DFDD-661E-875F5C3C95CE}"/>
              </a:ext>
            </a:extLst>
          </p:cNvPr>
          <p:cNvGrpSpPr/>
          <p:nvPr/>
        </p:nvGrpSpPr>
        <p:grpSpPr>
          <a:xfrm>
            <a:off x="666952" y="1712084"/>
            <a:ext cx="667698" cy="546089"/>
            <a:chOff x="377347" y="1615419"/>
            <a:chExt cx="950861" cy="777679"/>
          </a:xfrm>
        </p:grpSpPr>
        <p:sp>
          <p:nvSpPr>
            <p:cNvPr id="77" name="Flowchart: Preparation 76">
              <a:extLst>
                <a:ext uri="{FF2B5EF4-FFF2-40B4-BE49-F238E27FC236}">
                  <a16:creationId xmlns:a16="http://schemas.microsoft.com/office/drawing/2014/main" id="{FA4181F5-CEC4-4B8B-6D59-A19001B47AA9}"/>
                </a:ext>
              </a:extLst>
            </p:cNvPr>
            <p:cNvSpPr/>
            <p:nvPr/>
          </p:nvSpPr>
          <p:spPr>
            <a:xfrm>
              <a:off x="377347" y="1615419"/>
              <a:ext cx="950861" cy="777679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00EB9EBB-D2C9-67C9-7079-68EE0C274684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97817" y="1757617"/>
              <a:ext cx="509921" cy="493283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5986966-C4B3-7253-9496-FB0A6CA0ECB4}"/>
              </a:ext>
            </a:extLst>
          </p:cNvPr>
          <p:cNvGrpSpPr/>
          <p:nvPr/>
        </p:nvGrpSpPr>
        <p:grpSpPr>
          <a:xfrm>
            <a:off x="666952" y="4045122"/>
            <a:ext cx="667698" cy="546089"/>
            <a:chOff x="377347" y="3948457"/>
            <a:chExt cx="950861" cy="777679"/>
          </a:xfrm>
        </p:grpSpPr>
        <p:sp>
          <p:nvSpPr>
            <p:cNvPr id="80" name="Flowchart: Preparation 79">
              <a:extLst>
                <a:ext uri="{FF2B5EF4-FFF2-40B4-BE49-F238E27FC236}">
                  <a16:creationId xmlns:a16="http://schemas.microsoft.com/office/drawing/2014/main" id="{5B4DDCEE-D7E6-A831-0563-6C0F3279A1F5}"/>
                </a:ext>
              </a:extLst>
            </p:cNvPr>
            <p:cNvSpPr/>
            <p:nvPr/>
          </p:nvSpPr>
          <p:spPr>
            <a:xfrm>
              <a:off x="377347" y="3948457"/>
              <a:ext cx="950861" cy="777679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F57D42DD-9D35-D70F-064E-1D8E06AE8F33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97817" y="4090655"/>
              <a:ext cx="509921" cy="493283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63AB2761-5617-39AC-FF85-B79566B11485}"/>
              </a:ext>
            </a:extLst>
          </p:cNvPr>
          <p:cNvGrpSpPr/>
          <p:nvPr/>
        </p:nvGrpSpPr>
        <p:grpSpPr>
          <a:xfrm>
            <a:off x="666952" y="4822801"/>
            <a:ext cx="667698" cy="546089"/>
            <a:chOff x="377347" y="4726136"/>
            <a:chExt cx="950861" cy="777679"/>
          </a:xfrm>
        </p:grpSpPr>
        <p:sp>
          <p:nvSpPr>
            <p:cNvPr id="83" name="Flowchart: Preparation 82">
              <a:extLst>
                <a:ext uri="{FF2B5EF4-FFF2-40B4-BE49-F238E27FC236}">
                  <a16:creationId xmlns:a16="http://schemas.microsoft.com/office/drawing/2014/main" id="{EA7FF554-8D63-504E-E994-80FB73470570}"/>
                </a:ext>
              </a:extLst>
            </p:cNvPr>
            <p:cNvSpPr/>
            <p:nvPr/>
          </p:nvSpPr>
          <p:spPr>
            <a:xfrm>
              <a:off x="377347" y="4726136"/>
              <a:ext cx="950861" cy="777679"/>
            </a:xfrm>
            <a:prstGeom prst="flowChartPreparati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C90BA1A8-9BEA-E34A-A170-0414E44E8E1B}"/>
                </a:ext>
              </a:extLst>
            </p:cNvPr>
            <p:cNvPicPr>
              <a:picLocks/>
            </p:cNvPicPr>
            <p:nvPr>
              <p:custDataLst>
                <p:tags r:id="rId3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97817" y="4868334"/>
              <a:ext cx="509921" cy="493283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33A60D7-FA72-6FEC-0C06-6217859AA49F}"/>
              </a:ext>
            </a:extLst>
          </p:cNvPr>
          <p:cNvGrpSpPr/>
          <p:nvPr/>
        </p:nvGrpSpPr>
        <p:grpSpPr>
          <a:xfrm>
            <a:off x="666952" y="5600481"/>
            <a:ext cx="667698" cy="546089"/>
            <a:chOff x="377347" y="5503816"/>
            <a:chExt cx="950861" cy="777679"/>
          </a:xfrm>
        </p:grpSpPr>
        <p:sp>
          <p:nvSpPr>
            <p:cNvPr id="86" name="Flowchart: Preparation 85">
              <a:extLst>
                <a:ext uri="{FF2B5EF4-FFF2-40B4-BE49-F238E27FC236}">
                  <a16:creationId xmlns:a16="http://schemas.microsoft.com/office/drawing/2014/main" id="{9D9B7582-6357-CC88-9AEA-EF1F08BAF35B}"/>
                </a:ext>
              </a:extLst>
            </p:cNvPr>
            <p:cNvSpPr/>
            <p:nvPr/>
          </p:nvSpPr>
          <p:spPr>
            <a:xfrm>
              <a:off x="377347" y="5503816"/>
              <a:ext cx="950861" cy="777679"/>
            </a:xfrm>
            <a:prstGeom prst="flowChartPreparation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F480AD6B-5D0B-8AEA-723F-0CC2ED325564}"/>
                </a:ext>
              </a:extLst>
            </p:cNvPr>
            <p:cNvPicPr>
              <a:picLocks/>
            </p:cNvPicPr>
            <p:nvPr>
              <p:custDataLst>
                <p:tags r:id="rId2"/>
              </p:custDataLst>
            </p:nvPr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597817" y="5646014"/>
              <a:ext cx="509921" cy="49328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737031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98BB9A1A-3E55-85A0-FF7E-894251A36192}"/>
              </a:ext>
            </a:extLst>
          </p:cNvPr>
          <p:cNvSpPr>
            <a:spLocks/>
          </p:cNvSpPr>
          <p:nvPr/>
        </p:nvSpPr>
        <p:spPr>
          <a:xfrm rot="5400000">
            <a:off x="6658140" y="1765985"/>
            <a:ext cx="1660260" cy="1444426"/>
          </a:xfrm>
          <a:prstGeom prst="hexagon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27" name="Hexagon 26">
            <a:extLst>
              <a:ext uri="{FF2B5EF4-FFF2-40B4-BE49-F238E27FC236}">
                <a16:creationId xmlns:a16="http://schemas.microsoft.com/office/drawing/2014/main" id="{C65039ED-3BD7-7499-D7DB-EF954FA7A778}"/>
              </a:ext>
            </a:extLst>
          </p:cNvPr>
          <p:cNvSpPr>
            <a:spLocks/>
          </p:cNvSpPr>
          <p:nvPr/>
        </p:nvSpPr>
        <p:spPr>
          <a:xfrm rot="5400000">
            <a:off x="8218119" y="1765985"/>
            <a:ext cx="1660260" cy="1444426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Hexagon 27">
            <a:extLst>
              <a:ext uri="{FF2B5EF4-FFF2-40B4-BE49-F238E27FC236}">
                <a16:creationId xmlns:a16="http://schemas.microsoft.com/office/drawing/2014/main" id="{89324E8C-F199-5E00-4291-4A1F0CD8D97E}"/>
              </a:ext>
            </a:extLst>
          </p:cNvPr>
          <p:cNvSpPr>
            <a:spLocks/>
          </p:cNvSpPr>
          <p:nvPr/>
        </p:nvSpPr>
        <p:spPr>
          <a:xfrm rot="5400000">
            <a:off x="7435141" y="3175214"/>
            <a:ext cx="1660260" cy="1444426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813D623C-BDBF-E88D-3C98-EABCC4904DAD}"/>
              </a:ext>
            </a:extLst>
          </p:cNvPr>
          <p:cNvSpPr>
            <a:spLocks/>
          </p:cNvSpPr>
          <p:nvPr/>
        </p:nvSpPr>
        <p:spPr>
          <a:xfrm rot="5400000">
            <a:off x="8995122" y="3175214"/>
            <a:ext cx="1660260" cy="1444426"/>
          </a:xfrm>
          <a:prstGeom prst="hexagon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B8DB44CD-D519-602B-0971-301E0A3DF39E}"/>
              </a:ext>
            </a:extLst>
          </p:cNvPr>
          <p:cNvSpPr>
            <a:spLocks/>
          </p:cNvSpPr>
          <p:nvPr/>
        </p:nvSpPr>
        <p:spPr>
          <a:xfrm rot="5400000">
            <a:off x="6658140" y="4584443"/>
            <a:ext cx="1660260" cy="1444426"/>
          </a:xfrm>
          <a:prstGeom prst="hexagon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30E23E62-2DE7-CC22-CA44-F0AB962FED7A}"/>
              </a:ext>
            </a:extLst>
          </p:cNvPr>
          <p:cNvSpPr>
            <a:spLocks/>
          </p:cNvSpPr>
          <p:nvPr/>
        </p:nvSpPr>
        <p:spPr>
          <a:xfrm rot="5400000">
            <a:off x="8218119" y="4584443"/>
            <a:ext cx="1660260" cy="1444426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9B7C12-04DC-AAEB-86BE-98C0A7633243}"/>
              </a:ext>
            </a:extLst>
          </p:cNvPr>
          <p:cNvSpPr txBox="1">
            <a:spLocks/>
          </p:cNvSpPr>
          <p:nvPr/>
        </p:nvSpPr>
        <p:spPr>
          <a:xfrm>
            <a:off x="9844179" y="1990120"/>
            <a:ext cx="1793081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C510B58-4136-3FF1-47F8-E922EA2A6032}"/>
              </a:ext>
            </a:extLst>
          </p:cNvPr>
          <p:cNvSpPr txBox="1">
            <a:spLocks/>
          </p:cNvSpPr>
          <p:nvPr/>
        </p:nvSpPr>
        <p:spPr>
          <a:xfrm>
            <a:off x="5690208" y="3399349"/>
            <a:ext cx="1793081" cy="954937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9BBB544-9EBB-1F3D-C128-2548EEAB2FA7}"/>
              </a:ext>
            </a:extLst>
          </p:cNvPr>
          <p:cNvSpPr txBox="1">
            <a:spLocks/>
          </p:cNvSpPr>
          <p:nvPr/>
        </p:nvSpPr>
        <p:spPr>
          <a:xfrm>
            <a:off x="9844179" y="4808578"/>
            <a:ext cx="1793081" cy="926879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555191-5BEE-F6C4-8777-5C9B1FC6C4CB}"/>
              </a:ext>
            </a:extLst>
          </p:cNvPr>
          <p:cNvSpPr txBox="1">
            <a:spLocks/>
          </p:cNvSpPr>
          <p:nvPr/>
        </p:nvSpPr>
        <p:spPr>
          <a:xfrm>
            <a:off x="8326035" y="2024758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D23B2EE-042F-971F-2207-222818997342}"/>
              </a:ext>
            </a:extLst>
          </p:cNvPr>
          <p:cNvSpPr txBox="1">
            <a:spLocks/>
          </p:cNvSpPr>
          <p:nvPr/>
        </p:nvSpPr>
        <p:spPr>
          <a:xfrm>
            <a:off x="7543058" y="3433987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B87F49-B8AF-E78A-4202-0C9446C1DC02}"/>
              </a:ext>
            </a:extLst>
          </p:cNvPr>
          <p:cNvSpPr txBox="1">
            <a:spLocks/>
          </p:cNvSpPr>
          <p:nvPr/>
        </p:nvSpPr>
        <p:spPr>
          <a:xfrm>
            <a:off x="8326035" y="4843216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55E3B70-BE4E-E4D5-FB85-70D9BA769B4A}"/>
              </a:ext>
            </a:extLst>
          </p:cNvPr>
          <p:cNvSpPr txBox="1"/>
          <p:nvPr/>
        </p:nvSpPr>
        <p:spPr>
          <a:xfrm>
            <a:off x="1272976" y="1860318"/>
            <a:ext cx="3647367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r>
              <a:rPr lang="en-US" sz="1600" b="1" noProof="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4625B94-5DAB-A439-E6A6-FF75AA3874C2}"/>
              </a:ext>
            </a:extLst>
          </p:cNvPr>
          <p:cNvSpPr txBox="1"/>
          <p:nvPr/>
        </p:nvSpPr>
        <p:spPr>
          <a:xfrm>
            <a:off x="1233714" y="3308452"/>
            <a:ext cx="3647367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D68A0E9-498A-A96F-9C9F-E5CA981752D9}"/>
              </a:ext>
            </a:extLst>
          </p:cNvPr>
          <p:cNvSpPr txBox="1"/>
          <p:nvPr/>
        </p:nvSpPr>
        <p:spPr>
          <a:xfrm>
            <a:off x="1272976" y="4756585"/>
            <a:ext cx="3647367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51" name="Hexagon 50">
            <a:extLst>
              <a:ext uri="{FF2B5EF4-FFF2-40B4-BE49-F238E27FC236}">
                <a16:creationId xmlns:a16="http://schemas.microsoft.com/office/drawing/2014/main" id="{3CC98C22-F471-C05D-1429-44BF7CE6B8E4}"/>
              </a:ext>
            </a:extLst>
          </p:cNvPr>
          <p:cNvSpPr>
            <a:spLocks/>
          </p:cNvSpPr>
          <p:nvPr/>
        </p:nvSpPr>
        <p:spPr>
          <a:xfrm rot="5400000">
            <a:off x="517920" y="2002800"/>
            <a:ext cx="566338" cy="492714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Hexagon 51">
            <a:extLst>
              <a:ext uri="{FF2B5EF4-FFF2-40B4-BE49-F238E27FC236}">
                <a16:creationId xmlns:a16="http://schemas.microsoft.com/office/drawing/2014/main" id="{274D8FDF-0284-34D5-9580-06B3495F6F90}"/>
              </a:ext>
            </a:extLst>
          </p:cNvPr>
          <p:cNvSpPr>
            <a:spLocks/>
          </p:cNvSpPr>
          <p:nvPr/>
        </p:nvSpPr>
        <p:spPr>
          <a:xfrm rot="5400000">
            <a:off x="517920" y="3450933"/>
            <a:ext cx="566338" cy="492714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Hexagon 52">
            <a:extLst>
              <a:ext uri="{FF2B5EF4-FFF2-40B4-BE49-F238E27FC236}">
                <a16:creationId xmlns:a16="http://schemas.microsoft.com/office/drawing/2014/main" id="{DFEF9CC6-E4C4-7F99-27AB-BCB003D3C9A2}"/>
              </a:ext>
            </a:extLst>
          </p:cNvPr>
          <p:cNvSpPr>
            <a:spLocks/>
          </p:cNvSpPr>
          <p:nvPr/>
        </p:nvSpPr>
        <p:spPr>
          <a:xfrm rot="5400000">
            <a:off x="517920" y="4899067"/>
            <a:ext cx="566338" cy="492714"/>
          </a:xfrm>
          <a:prstGeom prst="hexagon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AA979E5-911C-DFB3-062F-45F72FA8D183}"/>
              </a:ext>
            </a:extLst>
          </p:cNvPr>
          <p:cNvSpPr txBox="1">
            <a:spLocks/>
          </p:cNvSpPr>
          <p:nvPr/>
        </p:nvSpPr>
        <p:spPr>
          <a:xfrm>
            <a:off x="688277" y="2139325"/>
            <a:ext cx="225625" cy="219665"/>
          </a:xfrm>
          <a:prstGeom prst="rect">
            <a:avLst/>
          </a:prstGeom>
          <a:noFill/>
        </p:spPr>
        <p:txBody>
          <a:bodyPr vert="horz" wrap="square" lIns="0" tIns="0" rIns="0" bIns="91440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16C73F8-67EA-47F0-926F-3F42FBFFEC7E}"/>
              </a:ext>
            </a:extLst>
          </p:cNvPr>
          <p:cNvSpPr txBox="1">
            <a:spLocks/>
          </p:cNvSpPr>
          <p:nvPr/>
        </p:nvSpPr>
        <p:spPr>
          <a:xfrm>
            <a:off x="688277" y="3587457"/>
            <a:ext cx="225625" cy="219665"/>
          </a:xfrm>
          <a:prstGeom prst="rect">
            <a:avLst/>
          </a:prstGeom>
          <a:noFill/>
        </p:spPr>
        <p:txBody>
          <a:bodyPr vert="horz" wrap="square" lIns="0" tIns="0" rIns="0" bIns="91440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06C2507-486B-77D4-7262-0B84E0DA6A8F}"/>
              </a:ext>
            </a:extLst>
          </p:cNvPr>
          <p:cNvSpPr txBox="1">
            <a:spLocks/>
          </p:cNvSpPr>
          <p:nvPr/>
        </p:nvSpPr>
        <p:spPr>
          <a:xfrm>
            <a:off x="688277" y="5035589"/>
            <a:ext cx="225625" cy="219665"/>
          </a:xfrm>
          <a:prstGeom prst="rect">
            <a:avLst/>
          </a:prstGeom>
          <a:noFill/>
        </p:spPr>
        <p:txBody>
          <a:bodyPr vert="horz" wrap="square" lIns="0" tIns="0" rIns="0" bIns="91440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08390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Hexagon 2">
            <a:extLst>
              <a:ext uri="{FF2B5EF4-FFF2-40B4-BE49-F238E27FC236}">
                <a16:creationId xmlns:a16="http://schemas.microsoft.com/office/drawing/2014/main" id="{6A51F95B-9038-805C-09F6-1882C4EB92BC}"/>
              </a:ext>
            </a:extLst>
          </p:cNvPr>
          <p:cNvSpPr>
            <a:spLocks/>
          </p:cNvSpPr>
          <p:nvPr/>
        </p:nvSpPr>
        <p:spPr>
          <a:xfrm rot="5400000">
            <a:off x="4551045" y="1712977"/>
            <a:ext cx="1660260" cy="1444426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9534BDD0-F9A7-7983-1DA2-A88FAAE1E14A}"/>
              </a:ext>
            </a:extLst>
          </p:cNvPr>
          <p:cNvSpPr>
            <a:spLocks/>
          </p:cNvSpPr>
          <p:nvPr/>
        </p:nvSpPr>
        <p:spPr>
          <a:xfrm rot="5400000">
            <a:off x="6111024" y="1712977"/>
            <a:ext cx="1660260" cy="1444426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B44B0002-BCBA-AEB9-C751-FCE65EFF4C6A}"/>
              </a:ext>
            </a:extLst>
          </p:cNvPr>
          <p:cNvSpPr>
            <a:spLocks/>
          </p:cNvSpPr>
          <p:nvPr/>
        </p:nvSpPr>
        <p:spPr>
          <a:xfrm rot="5400000">
            <a:off x="5328046" y="3122206"/>
            <a:ext cx="1660260" cy="1444426"/>
          </a:xfrm>
          <a:prstGeom prst="hexagon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0241F91E-813D-716F-767B-BC7ACF1D44D3}"/>
              </a:ext>
            </a:extLst>
          </p:cNvPr>
          <p:cNvSpPr>
            <a:spLocks/>
          </p:cNvSpPr>
          <p:nvPr/>
        </p:nvSpPr>
        <p:spPr>
          <a:xfrm rot="5400000">
            <a:off x="6888027" y="3122206"/>
            <a:ext cx="1660260" cy="1444426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44E5E9-2C24-11AA-BAA2-5E537797CB38}"/>
              </a:ext>
            </a:extLst>
          </p:cNvPr>
          <p:cNvSpPr txBox="1">
            <a:spLocks/>
          </p:cNvSpPr>
          <p:nvPr/>
        </p:nvSpPr>
        <p:spPr>
          <a:xfrm>
            <a:off x="7737084" y="1971750"/>
            <a:ext cx="3900176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361650-CB8A-0789-DE47-FC959DDD680D}"/>
              </a:ext>
            </a:extLst>
          </p:cNvPr>
          <p:cNvSpPr txBox="1">
            <a:spLocks/>
          </p:cNvSpPr>
          <p:nvPr/>
        </p:nvSpPr>
        <p:spPr>
          <a:xfrm>
            <a:off x="554732" y="3366951"/>
            <a:ext cx="3256924" cy="954937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5CC3FA-E96B-B5E5-D56D-A4AB563317C0}"/>
              </a:ext>
            </a:extLst>
          </p:cNvPr>
          <p:cNvSpPr txBox="1">
            <a:spLocks/>
          </p:cNvSpPr>
          <p:nvPr/>
        </p:nvSpPr>
        <p:spPr>
          <a:xfrm>
            <a:off x="6218940" y="1971750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E145D5-D508-14E7-0984-0A8BE29D2310}"/>
              </a:ext>
            </a:extLst>
          </p:cNvPr>
          <p:cNvSpPr txBox="1">
            <a:spLocks/>
          </p:cNvSpPr>
          <p:nvPr/>
        </p:nvSpPr>
        <p:spPr>
          <a:xfrm>
            <a:off x="5435963" y="3380979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6EFD8E4-D0AD-722E-5818-8C7D39F3C3D8}"/>
              </a:ext>
            </a:extLst>
          </p:cNvPr>
          <p:cNvSpPr txBox="1">
            <a:spLocks/>
          </p:cNvSpPr>
          <p:nvPr/>
        </p:nvSpPr>
        <p:spPr>
          <a:xfrm>
            <a:off x="554732" y="1971750"/>
            <a:ext cx="4030513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4725429-CD0D-BE5D-F30D-996168F2AA5E}"/>
              </a:ext>
            </a:extLst>
          </p:cNvPr>
          <p:cNvSpPr txBox="1">
            <a:spLocks/>
          </p:cNvSpPr>
          <p:nvPr/>
        </p:nvSpPr>
        <p:spPr>
          <a:xfrm>
            <a:off x="4658962" y="1971750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848E5CD5-33BF-B445-0ACC-F4C47AEC8048}"/>
              </a:ext>
            </a:extLst>
          </p:cNvPr>
          <p:cNvSpPr>
            <a:spLocks/>
          </p:cNvSpPr>
          <p:nvPr/>
        </p:nvSpPr>
        <p:spPr>
          <a:xfrm rot="5400000">
            <a:off x="4551045" y="4530727"/>
            <a:ext cx="1660260" cy="1444426"/>
          </a:xfrm>
          <a:prstGeom prst="hexag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76D2AEF1-BD0C-6A20-1188-07839103F360}"/>
              </a:ext>
            </a:extLst>
          </p:cNvPr>
          <p:cNvSpPr>
            <a:spLocks/>
          </p:cNvSpPr>
          <p:nvPr/>
        </p:nvSpPr>
        <p:spPr>
          <a:xfrm rot="5400000">
            <a:off x="6111024" y="4530727"/>
            <a:ext cx="1660260" cy="1444426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l">
              <a:lnSpc>
                <a:spcPct val="150000"/>
              </a:lnSpc>
            </a:pP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496ADC-7320-2026-E26C-54CE0C999B5B}"/>
              </a:ext>
            </a:extLst>
          </p:cNvPr>
          <p:cNvSpPr txBox="1">
            <a:spLocks/>
          </p:cNvSpPr>
          <p:nvPr/>
        </p:nvSpPr>
        <p:spPr>
          <a:xfrm>
            <a:off x="7737084" y="4789500"/>
            <a:ext cx="3900176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044736-6CE6-0D37-8510-BFFD66DCEC10}"/>
              </a:ext>
            </a:extLst>
          </p:cNvPr>
          <p:cNvSpPr txBox="1">
            <a:spLocks/>
          </p:cNvSpPr>
          <p:nvPr/>
        </p:nvSpPr>
        <p:spPr>
          <a:xfrm>
            <a:off x="6218940" y="4789500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3DDCF6D-79AC-C238-C3B8-3D5573E4D54C}"/>
              </a:ext>
            </a:extLst>
          </p:cNvPr>
          <p:cNvSpPr txBox="1">
            <a:spLocks/>
          </p:cNvSpPr>
          <p:nvPr/>
        </p:nvSpPr>
        <p:spPr>
          <a:xfrm>
            <a:off x="554732" y="4789500"/>
            <a:ext cx="4030513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F42C15-57F2-F4AC-14CF-9EF17D51ED13}"/>
              </a:ext>
            </a:extLst>
          </p:cNvPr>
          <p:cNvSpPr txBox="1">
            <a:spLocks/>
          </p:cNvSpPr>
          <p:nvPr/>
        </p:nvSpPr>
        <p:spPr>
          <a:xfrm>
            <a:off x="4658962" y="4789500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E2C0754-2646-657D-C1CA-ADF7E1C7EDB7}"/>
              </a:ext>
            </a:extLst>
          </p:cNvPr>
          <p:cNvSpPr txBox="1">
            <a:spLocks/>
          </p:cNvSpPr>
          <p:nvPr/>
        </p:nvSpPr>
        <p:spPr>
          <a:xfrm>
            <a:off x="8502916" y="3380979"/>
            <a:ext cx="3134344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sini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4F2070-1396-9A3F-CC9E-4ACA5A25D5C6}"/>
              </a:ext>
            </a:extLst>
          </p:cNvPr>
          <p:cNvSpPr txBox="1">
            <a:spLocks/>
          </p:cNvSpPr>
          <p:nvPr/>
        </p:nvSpPr>
        <p:spPr>
          <a:xfrm>
            <a:off x="6995944" y="3380979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Hexagon 32">
            <a:extLst>
              <a:ext uri="{FF2B5EF4-FFF2-40B4-BE49-F238E27FC236}">
                <a16:creationId xmlns:a16="http://schemas.microsoft.com/office/drawing/2014/main" id="{81C5BB87-21D0-4964-BFE0-2DCBF04F4729}"/>
              </a:ext>
            </a:extLst>
          </p:cNvPr>
          <p:cNvSpPr>
            <a:spLocks/>
          </p:cNvSpPr>
          <p:nvPr/>
        </p:nvSpPr>
        <p:spPr>
          <a:xfrm rot="5400000">
            <a:off x="3766285" y="3122206"/>
            <a:ext cx="1660260" cy="1444426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5090" tIns="258724" rIns="225090" bIns="258724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71A162E-DD69-3220-47F6-40DE924680B1}"/>
              </a:ext>
            </a:extLst>
          </p:cNvPr>
          <p:cNvSpPr txBox="1">
            <a:spLocks/>
          </p:cNvSpPr>
          <p:nvPr/>
        </p:nvSpPr>
        <p:spPr>
          <a:xfrm>
            <a:off x="3874202" y="3380979"/>
            <a:ext cx="1444427" cy="92688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</a:t>
            </a:r>
            <a:endParaRPr lang="en-US" sz="16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2055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2DBE2625-01BB-6CB5-BA84-5282373F56AC}"/>
              </a:ext>
            </a:extLst>
          </p:cNvPr>
          <p:cNvSpPr txBox="1">
            <a:spLocks/>
          </p:cNvSpPr>
          <p:nvPr/>
        </p:nvSpPr>
        <p:spPr>
          <a:xfrm>
            <a:off x="7265937" y="4373771"/>
            <a:ext cx="4371333" cy="1486373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 anchor="ctr">
            <a:noAutofit/>
          </a:bodyPr>
          <a:lstStyle/>
          <a:p>
            <a:pPr algn="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  <a:p>
            <a:pPr algn="r"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Etiam quis leo pulvinar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7EA1BA1-ABE2-9F34-646B-4AA12560B30D}"/>
              </a:ext>
            </a:extLst>
          </p:cNvPr>
          <p:cNvSpPr txBox="1">
            <a:spLocks/>
          </p:cNvSpPr>
          <p:nvPr/>
        </p:nvSpPr>
        <p:spPr>
          <a:xfrm>
            <a:off x="7265937" y="1855543"/>
            <a:ext cx="4371333" cy="1486373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 anchor="ctr">
            <a:noAutofit/>
          </a:bodyPr>
          <a:lstStyle/>
          <a:p>
            <a:pPr algn="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  <a:p>
            <a:pPr algn="r"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Etiam quis leo pulvinar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CF378F1-54A2-88B6-57AE-70C4AB1F4506}"/>
              </a:ext>
            </a:extLst>
          </p:cNvPr>
          <p:cNvSpPr txBox="1">
            <a:spLocks/>
          </p:cNvSpPr>
          <p:nvPr/>
        </p:nvSpPr>
        <p:spPr>
          <a:xfrm>
            <a:off x="554732" y="4373771"/>
            <a:ext cx="4371333" cy="1486373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Etiam quis leo pulvinar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F9BF41-75E1-71F0-F0AD-900F54E3252F}"/>
              </a:ext>
            </a:extLst>
          </p:cNvPr>
          <p:cNvSpPr txBox="1">
            <a:spLocks/>
          </p:cNvSpPr>
          <p:nvPr/>
        </p:nvSpPr>
        <p:spPr>
          <a:xfrm>
            <a:off x="554732" y="1855543"/>
            <a:ext cx="4371333" cy="1486373"/>
          </a:xfrm>
          <a:prstGeom prst="round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vert="horz" wrap="square" rtlCol="0" anchor="ctr">
            <a:noAutofit/>
          </a:bodyPr>
          <a:lstStyle/>
          <a:p>
            <a:pPr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  <a:p>
            <a:pPr>
              <a:lnSpc>
                <a:spcPct val="150000"/>
              </a:lnSpc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m quis leo pulvinar lacinia. </a:t>
            </a:r>
            <a:r>
              <a:rPr lang="en-US" sz="1400" dirty="0">
                <a:solidFill>
                  <a:schemeClr val="bg2"/>
                </a:solidFill>
                <a:latin typeface="+mj-lt"/>
              </a:rPr>
              <a:t>Vita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quam quis leo at quis odio. Etiam quis leo pulvinar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quam quis leo pulvinar lacin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B4FAA4BB-3FBF-9A50-639D-8374A3D1E389}"/>
              </a:ext>
            </a:extLst>
          </p:cNvPr>
          <p:cNvSpPr>
            <a:spLocks/>
          </p:cNvSpPr>
          <p:nvPr/>
        </p:nvSpPr>
        <p:spPr>
          <a:xfrm>
            <a:off x="4281890" y="2028300"/>
            <a:ext cx="3529786" cy="3570523"/>
          </a:xfrm>
          <a:prstGeom prst="pie">
            <a:avLst>
              <a:gd name="adj1" fmla="val 10798524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Partial Circle 24">
            <a:extLst>
              <a:ext uri="{FF2B5EF4-FFF2-40B4-BE49-F238E27FC236}">
                <a16:creationId xmlns:a16="http://schemas.microsoft.com/office/drawing/2014/main" id="{83E5A660-8BA9-7011-5163-BE3DF858DD9D}"/>
              </a:ext>
            </a:extLst>
          </p:cNvPr>
          <p:cNvSpPr>
            <a:spLocks/>
          </p:cNvSpPr>
          <p:nvPr/>
        </p:nvSpPr>
        <p:spPr>
          <a:xfrm>
            <a:off x="4281890" y="2116864"/>
            <a:ext cx="3529786" cy="3570523"/>
          </a:xfrm>
          <a:prstGeom prst="pie">
            <a:avLst>
              <a:gd name="adj1" fmla="val 5394740"/>
              <a:gd name="adj2" fmla="val 1079983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Partial Circle 27">
            <a:extLst>
              <a:ext uri="{FF2B5EF4-FFF2-40B4-BE49-F238E27FC236}">
                <a16:creationId xmlns:a16="http://schemas.microsoft.com/office/drawing/2014/main" id="{D1781058-F788-9026-30F3-C9BBB6941C8A}"/>
              </a:ext>
            </a:extLst>
          </p:cNvPr>
          <p:cNvSpPr>
            <a:spLocks/>
          </p:cNvSpPr>
          <p:nvPr/>
        </p:nvSpPr>
        <p:spPr>
          <a:xfrm>
            <a:off x="4380315" y="2028763"/>
            <a:ext cx="3529786" cy="3570523"/>
          </a:xfrm>
          <a:prstGeom prst="pie">
            <a:avLst>
              <a:gd name="adj1" fmla="val 16204944"/>
              <a:gd name="adj2" fmla="val 188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Partial Circle 28">
            <a:extLst>
              <a:ext uri="{FF2B5EF4-FFF2-40B4-BE49-F238E27FC236}">
                <a16:creationId xmlns:a16="http://schemas.microsoft.com/office/drawing/2014/main" id="{9C59360F-2426-AD66-9126-EED9CE582D23}"/>
              </a:ext>
            </a:extLst>
          </p:cNvPr>
          <p:cNvSpPr>
            <a:spLocks/>
          </p:cNvSpPr>
          <p:nvPr/>
        </p:nvSpPr>
        <p:spPr>
          <a:xfrm>
            <a:off x="4377140" y="2116864"/>
            <a:ext cx="3529786" cy="3570523"/>
          </a:xfrm>
          <a:prstGeom prst="pie">
            <a:avLst>
              <a:gd name="adj1" fmla="val 23723"/>
              <a:gd name="adj2" fmla="val 539253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ircular Arrow 11">
            <a:extLst>
              <a:ext uri="{FF2B5EF4-FFF2-40B4-BE49-F238E27FC236}">
                <a16:creationId xmlns:a16="http://schemas.microsoft.com/office/drawing/2014/main" id="{06E7701B-6133-625E-2F65-B535B0733EC3}"/>
              </a:ext>
            </a:extLst>
          </p:cNvPr>
          <p:cNvSpPr/>
          <p:nvPr/>
        </p:nvSpPr>
        <p:spPr>
          <a:xfrm>
            <a:off x="5798200" y="3495149"/>
            <a:ext cx="595601" cy="523890"/>
          </a:xfrm>
          <a:prstGeom prst="circular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Circular Arrow 12">
            <a:extLst>
              <a:ext uri="{FF2B5EF4-FFF2-40B4-BE49-F238E27FC236}">
                <a16:creationId xmlns:a16="http://schemas.microsoft.com/office/drawing/2014/main" id="{672108CD-ED73-4DC0-9767-67DB0FE76117}"/>
              </a:ext>
            </a:extLst>
          </p:cNvPr>
          <p:cNvSpPr/>
          <p:nvPr/>
        </p:nvSpPr>
        <p:spPr>
          <a:xfrm rot="10800000">
            <a:off x="5798200" y="3696646"/>
            <a:ext cx="595601" cy="523890"/>
          </a:xfrm>
          <a:prstGeom prst="circular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B9C3421-6B86-0990-F777-F0E8B3D8DE9A}"/>
              </a:ext>
            </a:extLst>
          </p:cNvPr>
          <p:cNvSpPr txBox="1">
            <a:spLocks/>
          </p:cNvSpPr>
          <p:nvPr/>
        </p:nvSpPr>
        <p:spPr>
          <a:xfrm>
            <a:off x="4637055" y="2856319"/>
            <a:ext cx="1204686" cy="487846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222668-1BC0-A629-5AD7-FC6D074505F7}"/>
              </a:ext>
            </a:extLst>
          </p:cNvPr>
          <p:cNvSpPr txBox="1">
            <a:spLocks/>
          </p:cNvSpPr>
          <p:nvPr/>
        </p:nvSpPr>
        <p:spPr>
          <a:xfrm>
            <a:off x="4637055" y="4369288"/>
            <a:ext cx="1204686" cy="487846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vert="horz" wrap="square" rtlCol="0">
            <a:noAutofit/>
          </a:bodyPr>
          <a:lstStyle/>
          <a:p>
            <a:pPr algn="ct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DC3276-E216-EA26-D3ED-1AB28955A282}"/>
              </a:ext>
            </a:extLst>
          </p:cNvPr>
          <p:cNvSpPr txBox="1">
            <a:spLocks/>
          </p:cNvSpPr>
          <p:nvPr/>
        </p:nvSpPr>
        <p:spPr>
          <a:xfrm>
            <a:off x="6224365" y="4369288"/>
            <a:ext cx="1204686" cy="487846"/>
          </a:xfrm>
          <a:prstGeom prst="roundRect">
            <a:avLst/>
          </a:prstGeom>
          <a:noFill/>
          <a:ln>
            <a:noFill/>
          </a:ln>
        </p:spPr>
        <p:txBody>
          <a:bodyPr vert="horz" wrap="square" rtlCol="0">
            <a:noAutofit/>
          </a:bodyPr>
          <a:lstStyle/>
          <a:p>
            <a:pPr algn="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20D4ACF-A689-2FDE-83A9-2F80D0DA117B}"/>
              </a:ext>
            </a:extLst>
          </p:cNvPr>
          <p:cNvSpPr txBox="1">
            <a:spLocks/>
          </p:cNvSpPr>
          <p:nvPr/>
        </p:nvSpPr>
        <p:spPr>
          <a:xfrm>
            <a:off x="6224365" y="2856319"/>
            <a:ext cx="1204686" cy="487846"/>
          </a:xfrm>
          <a:prstGeom prst="roundRect">
            <a:avLst/>
          </a:prstGeom>
          <a:noFill/>
          <a:ln>
            <a:noFill/>
          </a:ln>
        </p:spPr>
        <p:txBody>
          <a:bodyPr vert="horz" wrap="square" rtlCol="0">
            <a:noAutofit/>
          </a:bodyPr>
          <a:lstStyle/>
          <a:p>
            <a:pPr algn="r">
              <a:lnSpc>
                <a:spcPct val="150000"/>
              </a:lnSpc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tiam vita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9556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5F1D9491-9A4E-D2DA-179B-C039B778E56F}"/>
              </a:ext>
            </a:extLst>
          </p:cNvPr>
          <p:cNvCxnSpPr>
            <a:cxnSpLocks/>
            <a:stCxn id="29" idx="3"/>
            <a:endCxn id="36" idx="1"/>
          </p:cNvCxnSpPr>
          <p:nvPr/>
        </p:nvCxnSpPr>
        <p:spPr>
          <a:xfrm flipV="1">
            <a:off x="7581037" y="2070987"/>
            <a:ext cx="1072571" cy="32716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E5298447-8610-C68C-40E9-D3DD6D29CE66}"/>
              </a:ext>
            </a:extLst>
          </p:cNvPr>
          <p:cNvCxnSpPr>
            <a:cxnSpLocks/>
            <a:stCxn id="28" idx="1"/>
            <a:endCxn id="52" idx="3"/>
          </p:cNvCxnSpPr>
          <p:nvPr/>
        </p:nvCxnSpPr>
        <p:spPr>
          <a:xfrm rot="10800000" flipV="1">
            <a:off x="3107742" y="2558060"/>
            <a:ext cx="1173799" cy="49822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D1767B4B-4854-3A3B-5410-996E42830CB4}"/>
              </a:ext>
            </a:extLst>
          </p:cNvPr>
          <p:cNvCxnSpPr>
            <a:cxnSpLocks/>
            <a:stCxn id="32" idx="1"/>
            <a:endCxn id="51" idx="3"/>
          </p:cNvCxnSpPr>
          <p:nvPr/>
        </p:nvCxnSpPr>
        <p:spPr>
          <a:xfrm rot="10800000" flipV="1">
            <a:off x="3143373" y="4515047"/>
            <a:ext cx="789998" cy="4699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318B26E4-6719-6854-39D7-DB794697A9AB}"/>
              </a:ext>
            </a:extLst>
          </p:cNvPr>
          <p:cNvCxnSpPr>
            <a:cxnSpLocks/>
            <a:stCxn id="31" idx="3"/>
            <a:endCxn id="50" idx="1"/>
          </p:cNvCxnSpPr>
          <p:nvPr/>
        </p:nvCxnSpPr>
        <p:spPr>
          <a:xfrm>
            <a:off x="6712710" y="5648379"/>
            <a:ext cx="901192" cy="25600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BE5DCEF8-445A-81B8-3D7D-72D807FAB762}"/>
              </a:ext>
            </a:extLst>
          </p:cNvPr>
          <p:cNvCxnSpPr>
            <a:cxnSpLocks/>
            <a:stCxn id="30" idx="3"/>
            <a:endCxn id="48" idx="1"/>
          </p:cNvCxnSpPr>
          <p:nvPr/>
        </p:nvCxnSpPr>
        <p:spPr>
          <a:xfrm flipV="1">
            <a:off x="8183074" y="3737867"/>
            <a:ext cx="884191" cy="50036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CD975A8-BEFE-F306-1203-B3C1AE68F141}"/>
              </a:ext>
            </a:extLst>
          </p:cNvPr>
          <p:cNvSpPr>
            <a:spLocks/>
          </p:cNvSpPr>
          <p:nvPr/>
        </p:nvSpPr>
        <p:spPr bwMode="auto">
          <a:xfrm>
            <a:off x="5194662" y="1633688"/>
            <a:ext cx="2464003" cy="2384983"/>
          </a:xfrm>
          <a:custGeom>
            <a:avLst/>
            <a:gdLst>
              <a:gd name="T0" fmla="*/ 1684 w 2058"/>
              <a:gd name="T1" fmla="*/ 1208 h 1992"/>
              <a:gd name="T2" fmla="*/ 1550 w 2058"/>
              <a:gd name="T3" fmla="*/ 1072 h 1992"/>
              <a:gd name="T4" fmla="*/ 1388 w 2058"/>
              <a:gd name="T5" fmla="*/ 968 h 1992"/>
              <a:gd name="T6" fmla="*/ 1206 w 2058"/>
              <a:gd name="T7" fmla="*/ 900 h 1992"/>
              <a:gd name="T8" fmla="*/ 1006 w 2058"/>
              <a:gd name="T9" fmla="*/ 878 h 1992"/>
              <a:gd name="T10" fmla="*/ 874 w 2058"/>
              <a:gd name="T11" fmla="*/ 888 h 1992"/>
              <a:gd name="T12" fmla="*/ 710 w 2058"/>
              <a:gd name="T13" fmla="*/ 930 h 1992"/>
              <a:gd name="T14" fmla="*/ 560 w 2058"/>
              <a:gd name="T15" fmla="*/ 1002 h 1992"/>
              <a:gd name="T16" fmla="*/ 426 w 2058"/>
              <a:gd name="T17" fmla="*/ 1102 h 1992"/>
              <a:gd name="T18" fmla="*/ 316 w 2058"/>
              <a:gd name="T19" fmla="*/ 1224 h 1992"/>
              <a:gd name="T20" fmla="*/ 230 w 2058"/>
              <a:gd name="T21" fmla="*/ 1366 h 1992"/>
              <a:gd name="T22" fmla="*/ 172 w 2058"/>
              <a:gd name="T23" fmla="*/ 1524 h 1992"/>
              <a:gd name="T24" fmla="*/ 146 w 2058"/>
              <a:gd name="T25" fmla="*/ 1694 h 1992"/>
              <a:gd name="T26" fmla="*/ 146 w 2058"/>
              <a:gd name="T27" fmla="*/ 1804 h 1992"/>
              <a:gd name="T28" fmla="*/ 182 w 2058"/>
              <a:gd name="T29" fmla="*/ 1992 h 1992"/>
              <a:gd name="T30" fmla="*/ 124 w 2058"/>
              <a:gd name="T31" fmla="*/ 1906 h 1992"/>
              <a:gd name="T32" fmla="*/ 60 w 2058"/>
              <a:gd name="T33" fmla="*/ 1780 h 1992"/>
              <a:gd name="T34" fmla="*/ 18 w 2058"/>
              <a:gd name="T35" fmla="*/ 1644 h 1992"/>
              <a:gd name="T36" fmla="*/ 0 w 2058"/>
              <a:gd name="T37" fmla="*/ 1498 h 1992"/>
              <a:gd name="T38" fmla="*/ 4 w 2058"/>
              <a:gd name="T39" fmla="*/ 1378 h 1992"/>
              <a:gd name="T40" fmla="*/ 34 w 2058"/>
              <a:gd name="T41" fmla="*/ 1216 h 1992"/>
              <a:gd name="T42" fmla="*/ 94 w 2058"/>
              <a:gd name="T43" fmla="*/ 1068 h 1992"/>
              <a:gd name="T44" fmla="*/ 180 w 2058"/>
              <a:gd name="T45" fmla="*/ 934 h 1992"/>
              <a:gd name="T46" fmla="*/ 288 w 2058"/>
              <a:gd name="T47" fmla="*/ 818 h 1992"/>
              <a:gd name="T48" fmla="*/ 416 w 2058"/>
              <a:gd name="T49" fmla="*/ 724 h 1992"/>
              <a:gd name="T50" fmla="*/ 558 w 2058"/>
              <a:gd name="T51" fmla="*/ 654 h 1992"/>
              <a:gd name="T52" fmla="*/ 716 w 2058"/>
              <a:gd name="T53" fmla="*/ 612 h 1992"/>
              <a:gd name="T54" fmla="*/ 800 w 2058"/>
              <a:gd name="T55" fmla="*/ 572 h 1992"/>
              <a:gd name="T56" fmla="*/ 824 w 2058"/>
              <a:gd name="T57" fmla="*/ 452 h 1992"/>
              <a:gd name="T58" fmla="*/ 868 w 2058"/>
              <a:gd name="T59" fmla="*/ 340 h 1992"/>
              <a:gd name="T60" fmla="*/ 932 w 2058"/>
              <a:gd name="T61" fmla="*/ 242 h 1992"/>
              <a:gd name="T62" fmla="*/ 1014 w 2058"/>
              <a:gd name="T63" fmla="*/ 156 h 1992"/>
              <a:gd name="T64" fmla="*/ 1108 w 2058"/>
              <a:gd name="T65" fmla="*/ 86 h 1992"/>
              <a:gd name="T66" fmla="*/ 1216 w 2058"/>
              <a:gd name="T67" fmla="*/ 36 h 1992"/>
              <a:gd name="T68" fmla="*/ 1334 w 2058"/>
              <a:gd name="T69" fmla="*/ 6 h 1992"/>
              <a:gd name="T70" fmla="*/ 1428 w 2058"/>
              <a:gd name="T71" fmla="*/ 0 h 1992"/>
              <a:gd name="T72" fmla="*/ 1554 w 2058"/>
              <a:gd name="T73" fmla="*/ 12 h 1992"/>
              <a:gd name="T74" fmla="*/ 1674 w 2058"/>
              <a:gd name="T75" fmla="*/ 50 h 1992"/>
              <a:gd name="T76" fmla="*/ 1780 w 2058"/>
              <a:gd name="T77" fmla="*/ 108 h 1992"/>
              <a:gd name="T78" fmla="*/ 1874 w 2058"/>
              <a:gd name="T79" fmla="*/ 184 h 1992"/>
              <a:gd name="T80" fmla="*/ 1950 w 2058"/>
              <a:gd name="T81" fmla="*/ 278 h 1992"/>
              <a:gd name="T82" fmla="*/ 2008 w 2058"/>
              <a:gd name="T83" fmla="*/ 384 h 1992"/>
              <a:gd name="T84" fmla="*/ 2046 w 2058"/>
              <a:gd name="T85" fmla="*/ 504 h 1992"/>
              <a:gd name="T86" fmla="*/ 2058 w 2058"/>
              <a:gd name="T87" fmla="*/ 630 h 1992"/>
              <a:gd name="T88" fmla="*/ 2042 w 2058"/>
              <a:gd name="T89" fmla="*/ 770 h 1992"/>
              <a:gd name="T90" fmla="*/ 1976 w 2058"/>
              <a:gd name="T91" fmla="*/ 940 h 1992"/>
              <a:gd name="T92" fmla="*/ 1868 w 2058"/>
              <a:gd name="T93" fmla="*/ 1082 h 1992"/>
              <a:gd name="T94" fmla="*/ 1724 w 2058"/>
              <a:gd name="T95" fmla="*/ 1186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8" h="1992">
                <a:moveTo>
                  <a:pt x="1684" y="1206"/>
                </a:moveTo>
                <a:lnTo>
                  <a:pt x="1684" y="1206"/>
                </a:lnTo>
                <a:lnTo>
                  <a:pt x="1684" y="1208"/>
                </a:lnTo>
                <a:lnTo>
                  <a:pt x="1684" y="1208"/>
                </a:lnTo>
                <a:lnTo>
                  <a:pt x="1652" y="1170"/>
                </a:lnTo>
                <a:lnTo>
                  <a:pt x="1620" y="1136"/>
                </a:lnTo>
                <a:lnTo>
                  <a:pt x="1586" y="1102"/>
                </a:lnTo>
                <a:lnTo>
                  <a:pt x="1550" y="1072"/>
                </a:lnTo>
                <a:lnTo>
                  <a:pt x="1512" y="1042"/>
                </a:lnTo>
                <a:lnTo>
                  <a:pt x="1472" y="1014"/>
                </a:lnTo>
                <a:lnTo>
                  <a:pt x="1432" y="990"/>
                </a:lnTo>
                <a:lnTo>
                  <a:pt x="1388" y="968"/>
                </a:lnTo>
                <a:lnTo>
                  <a:pt x="1344" y="946"/>
                </a:lnTo>
                <a:lnTo>
                  <a:pt x="1300" y="930"/>
                </a:lnTo>
                <a:lnTo>
                  <a:pt x="1252" y="914"/>
                </a:lnTo>
                <a:lnTo>
                  <a:pt x="1206" y="900"/>
                </a:lnTo>
                <a:lnTo>
                  <a:pt x="1156" y="890"/>
                </a:lnTo>
                <a:lnTo>
                  <a:pt x="1108" y="884"/>
                </a:lnTo>
                <a:lnTo>
                  <a:pt x="1056" y="880"/>
                </a:lnTo>
                <a:lnTo>
                  <a:pt x="1006" y="878"/>
                </a:lnTo>
                <a:lnTo>
                  <a:pt x="1006" y="878"/>
                </a:lnTo>
                <a:lnTo>
                  <a:pt x="962" y="878"/>
                </a:lnTo>
                <a:lnTo>
                  <a:pt x="918" y="882"/>
                </a:lnTo>
                <a:lnTo>
                  <a:pt x="874" y="888"/>
                </a:lnTo>
                <a:lnTo>
                  <a:pt x="832" y="896"/>
                </a:lnTo>
                <a:lnTo>
                  <a:pt x="790" y="904"/>
                </a:lnTo>
                <a:lnTo>
                  <a:pt x="750" y="916"/>
                </a:lnTo>
                <a:lnTo>
                  <a:pt x="710" y="930"/>
                </a:lnTo>
                <a:lnTo>
                  <a:pt x="670" y="946"/>
                </a:lnTo>
                <a:lnTo>
                  <a:pt x="632" y="962"/>
                </a:lnTo>
                <a:lnTo>
                  <a:pt x="596" y="982"/>
                </a:lnTo>
                <a:lnTo>
                  <a:pt x="560" y="1002"/>
                </a:lnTo>
                <a:lnTo>
                  <a:pt x="524" y="1024"/>
                </a:lnTo>
                <a:lnTo>
                  <a:pt x="490" y="1048"/>
                </a:lnTo>
                <a:lnTo>
                  <a:pt x="458" y="1074"/>
                </a:lnTo>
                <a:lnTo>
                  <a:pt x="426" y="1102"/>
                </a:lnTo>
                <a:lnTo>
                  <a:pt x="396" y="1130"/>
                </a:lnTo>
                <a:lnTo>
                  <a:pt x="368" y="1160"/>
                </a:lnTo>
                <a:lnTo>
                  <a:pt x="342" y="1190"/>
                </a:lnTo>
                <a:lnTo>
                  <a:pt x="316" y="1224"/>
                </a:lnTo>
                <a:lnTo>
                  <a:pt x="292" y="1258"/>
                </a:lnTo>
                <a:lnTo>
                  <a:pt x="270" y="1292"/>
                </a:lnTo>
                <a:lnTo>
                  <a:pt x="248" y="1328"/>
                </a:lnTo>
                <a:lnTo>
                  <a:pt x="230" y="1366"/>
                </a:lnTo>
                <a:lnTo>
                  <a:pt x="212" y="1404"/>
                </a:lnTo>
                <a:lnTo>
                  <a:pt x="196" y="1442"/>
                </a:lnTo>
                <a:lnTo>
                  <a:pt x="184" y="1482"/>
                </a:lnTo>
                <a:lnTo>
                  <a:pt x="172" y="1524"/>
                </a:lnTo>
                <a:lnTo>
                  <a:pt x="162" y="1566"/>
                </a:lnTo>
                <a:lnTo>
                  <a:pt x="154" y="1608"/>
                </a:lnTo>
                <a:lnTo>
                  <a:pt x="148" y="1650"/>
                </a:lnTo>
                <a:lnTo>
                  <a:pt x="146" y="1694"/>
                </a:lnTo>
                <a:lnTo>
                  <a:pt x="144" y="1738"/>
                </a:lnTo>
                <a:lnTo>
                  <a:pt x="144" y="1738"/>
                </a:lnTo>
                <a:lnTo>
                  <a:pt x="146" y="1772"/>
                </a:lnTo>
                <a:lnTo>
                  <a:pt x="146" y="1804"/>
                </a:lnTo>
                <a:lnTo>
                  <a:pt x="150" y="1836"/>
                </a:lnTo>
                <a:lnTo>
                  <a:pt x="154" y="1868"/>
                </a:lnTo>
                <a:lnTo>
                  <a:pt x="166" y="1932"/>
                </a:lnTo>
                <a:lnTo>
                  <a:pt x="182" y="1992"/>
                </a:lnTo>
                <a:lnTo>
                  <a:pt x="182" y="1992"/>
                </a:lnTo>
                <a:lnTo>
                  <a:pt x="162" y="1964"/>
                </a:lnTo>
                <a:lnTo>
                  <a:pt x="142" y="1936"/>
                </a:lnTo>
                <a:lnTo>
                  <a:pt x="124" y="1906"/>
                </a:lnTo>
                <a:lnTo>
                  <a:pt x="106" y="1876"/>
                </a:lnTo>
                <a:lnTo>
                  <a:pt x="90" y="1844"/>
                </a:lnTo>
                <a:lnTo>
                  <a:pt x="74" y="1814"/>
                </a:lnTo>
                <a:lnTo>
                  <a:pt x="60" y="1780"/>
                </a:lnTo>
                <a:lnTo>
                  <a:pt x="48" y="1748"/>
                </a:lnTo>
                <a:lnTo>
                  <a:pt x="36" y="1714"/>
                </a:lnTo>
                <a:lnTo>
                  <a:pt x="28" y="1680"/>
                </a:lnTo>
                <a:lnTo>
                  <a:pt x="18" y="1644"/>
                </a:lnTo>
                <a:lnTo>
                  <a:pt x="12" y="1608"/>
                </a:lnTo>
                <a:lnTo>
                  <a:pt x="6" y="1572"/>
                </a:lnTo>
                <a:lnTo>
                  <a:pt x="2" y="1536"/>
                </a:lnTo>
                <a:lnTo>
                  <a:pt x="0" y="1498"/>
                </a:lnTo>
                <a:lnTo>
                  <a:pt x="0" y="1462"/>
                </a:lnTo>
                <a:lnTo>
                  <a:pt x="0" y="1462"/>
                </a:lnTo>
                <a:lnTo>
                  <a:pt x="0" y="1420"/>
                </a:lnTo>
                <a:lnTo>
                  <a:pt x="4" y="1378"/>
                </a:lnTo>
                <a:lnTo>
                  <a:pt x="8" y="1336"/>
                </a:lnTo>
                <a:lnTo>
                  <a:pt x="16" y="1296"/>
                </a:lnTo>
                <a:lnTo>
                  <a:pt x="24" y="1256"/>
                </a:lnTo>
                <a:lnTo>
                  <a:pt x="34" y="1216"/>
                </a:lnTo>
                <a:lnTo>
                  <a:pt x="48" y="1178"/>
                </a:lnTo>
                <a:lnTo>
                  <a:pt x="62" y="1140"/>
                </a:lnTo>
                <a:lnTo>
                  <a:pt x="78" y="1104"/>
                </a:lnTo>
                <a:lnTo>
                  <a:pt x="94" y="1068"/>
                </a:lnTo>
                <a:lnTo>
                  <a:pt x="114" y="1032"/>
                </a:lnTo>
                <a:lnTo>
                  <a:pt x="134" y="998"/>
                </a:lnTo>
                <a:lnTo>
                  <a:pt x="156" y="966"/>
                </a:lnTo>
                <a:lnTo>
                  <a:pt x="180" y="934"/>
                </a:lnTo>
                <a:lnTo>
                  <a:pt x="206" y="902"/>
                </a:lnTo>
                <a:lnTo>
                  <a:pt x="232" y="874"/>
                </a:lnTo>
                <a:lnTo>
                  <a:pt x="260" y="846"/>
                </a:lnTo>
                <a:lnTo>
                  <a:pt x="288" y="818"/>
                </a:lnTo>
                <a:lnTo>
                  <a:pt x="318" y="792"/>
                </a:lnTo>
                <a:lnTo>
                  <a:pt x="350" y="768"/>
                </a:lnTo>
                <a:lnTo>
                  <a:pt x="382" y="746"/>
                </a:lnTo>
                <a:lnTo>
                  <a:pt x="416" y="724"/>
                </a:lnTo>
                <a:lnTo>
                  <a:pt x="450" y="704"/>
                </a:lnTo>
                <a:lnTo>
                  <a:pt x="486" y="686"/>
                </a:lnTo>
                <a:lnTo>
                  <a:pt x="522" y="670"/>
                </a:lnTo>
                <a:lnTo>
                  <a:pt x="558" y="654"/>
                </a:lnTo>
                <a:lnTo>
                  <a:pt x="596" y="642"/>
                </a:lnTo>
                <a:lnTo>
                  <a:pt x="636" y="630"/>
                </a:lnTo>
                <a:lnTo>
                  <a:pt x="676" y="620"/>
                </a:lnTo>
                <a:lnTo>
                  <a:pt x="716" y="612"/>
                </a:lnTo>
                <a:lnTo>
                  <a:pt x="756" y="606"/>
                </a:lnTo>
                <a:lnTo>
                  <a:pt x="798" y="602"/>
                </a:lnTo>
                <a:lnTo>
                  <a:pt x="798" y="602"/>
                </a:lnTo>
                <a:lnTo>
                  <a:pt x="800" y="572"/>
                </a:lnTo>
                <a:lnTo>
                  <a:pt x="804" y="540"/>
                </a:lnTo>
                <a:lnTo>
                  <a:pt x="810" y="510"/>
                </a:lnTo>
                <a:lnTo>
                  <a:pt x="816" y="480"/>
                </a:lnTo>
                <a:lnTo>
                  <a:pt x="824" y="452"/>
                </a:lnTo>
                <a:lnTo>
                  <a:pt x="832" y="422"/>
                </a:lnTo>
                <a:lnTo>
                  <a:pt x="844" y="394"/>
                </a:lnTo>
                <a:lnTo>
                  <a:pt x="856" y="368"/>
                </a:lnTo>
                <a:lnTo>
                  <a:pt x="868" y="340"/>
                </a:lnTo>
                <a:lnTo>
                  <a:pt x="882" y="314"/>
                </a:lnTo>
                <a:lnTo>
                  <a:pt x="898" y="290"/>
                </a:lnTo>
                <a:lnTo>
                  <a:pt x="914" y="264"/>
                </a:lnTo>
                <a:lnTo>
                  <a:pt x="932" y="242"/>
                </a:lnTo>
                <a:lnTo>
                  <a:pt x="952" y="218"/>
                </a:lnTo>
                <a:lnTo>
                  <a:pt x="970" y="196"/>
                </a:lnTo>
                <a:lnTo>
                  <a:pt x="992" y="176"/>
                </a:lnTo>
                <a:lnTo>
                  <a:pt x="1014" y="156"/>
                </a:lnTo>
                <a:lnTo>
                  <a:pt x="1036" y="136"/>
                </a:lnTo>
                <a:lnTo>
                  <a:pt x="1060" y="120"/>
                </a:lnTo>
                <a:lnTo>
                  <a:pt x="1084" y="102"/>
                </a:lnTo>
                <a:lnTo>
                  <a:pt x="1108" y="86"/>
                </a:lnTo>
                <a:lnTo>
                  <a:pt x="1134" y="72"/>
                </a:lnTo>
                <a:lnTo>
                  <a:pt x="1162" y="60"/>
                </a:lnTo>
                <a:lnTo>
                  <a:pt x="1188" y="48"/>
                </a:lnTo>
                <a:lnTo>
                  <a:pt x="1216" y="36"/>
                </a:lnTo>
                <a:lnTo>
                  <a:pt x="1246" y="26"/>
                </a:lnTo>
                <a:lnTo>
                  <a:pt x="1274" y="18"/>
                </a:lnTo>
                <a:lnTo>
                  <a:pt x="1304" y="12"/>
                </a:lnTo>
                <a:lnTo>
                  <a:pt x="1334" y="6"/>
                </a:lnTo>
                <a:lnTo>
                  <a:pt x="1366" y="4"/>
                </a:lnTo>
                <a:lnTo>
                  <a:pt x="1396" y="0"/>
                </a:lnTo>
                <a:lnTo>
                  <a:pt x="1428" y="0"/>
                </a:lnTo>
                <a:lnTo>
                  <a:pt x="1428" y="0"/>
                </a:lnTo>
                <a:lnTo>
                  <a:pt x="1460" y="0"/>
                </a:lnTo>
                <a:lnTo>
                  <a:pt x="1492" y="4"/>
                </a:lnTo>
                <a:lnTo>
                  <a:pt x="1524" y="8"/>
                </a:lnTo>
                <a:lnTo>
                  <a:pt x="1554" y="12"/>
                </a:lnTo>
                <a:lnTo>
                  <a:pt x="1586" y="20"/>
                </a:lnTo>
                <a:lnTo>
                  <a:pt x="1616" y="28"/>
                </a:lnTo>
                <a:lnTo>
                  <a:pt x="1644" y="38"/>
                </a:lnTo>
                <a:lnTo>
                  <a:pt x="1674" y="50"/>
                </a:lnTo>
                <a:lnTo>
                  <a:pt x="1702" y="62"/>
                </a:lnTo>
                <a:lnTo>
                  <a:pt x="1728" y="76"/>
                </a:lnTo>
                <a:lnTo>
                  <a:pt x="1754" y="92"/>
                </a:lnTo>
                <a:lnTo>
                  <a:pt x="1780" y="108"/>
                </a:lnTo>
                <a:lnTo>
                  <a:pt x="1804" y="126"/>
                </a:lnTo>
                <a:lnTo>
                  <a:pt x="1828" y="144"/>
                </a:lnTo>
                <a:lnTo>
                  <a:pt x="1852" y="164"/>
                </a:lnTo>
                <a:lnTo>
                  <a:pt x="1874" y="184"/>
                </a:lnTo>
                <a:lnTo>
                  <a:pt x="1894" y="206"/>
                </a:lnTo>
                <a:lnTo>
                  <a:pt x="1914" y="230"/>
                </a:lnTo>
                <a:lnTo>
                  <a:pt x="1932" y="254"/>
                </a:lnTo>
                <a:lnTo>
                  <a:pt x="1950" y="278"/>
                </a:lnTo>
                <a:lnTo>
                  <a:pt x="1966" y="304"/>
                </a:lnTo>
                <a:lnTo>
                  <a:pt x="1982" y="330"/>
                </a:lnTo>
                <a:lnTo>
                  <a:pt x="1996" y="356"/>
                </a:lnTo>
                <a:lnTo>
                  <a:pt x="2008" y="384"/>
                </a:lnTo>
                <a:lnTo>
                  <a:pt x="2020" y="414"/>
                </a:lnTo>
                <a:lnTo>
                  <a:pt x="2030" y="442"/>
                </a:lnTo>
                <a:lnTo>
                  <a:pt x="2038" y="472"/>
                </a:lnTo>
                <a:lnTo>
                  <a:pt x="2046" y="504"/>
                </a:lnTo>
                <a:lnTo>
                  <a:pt x="2050" y="534"/>
                </a:lnTo>
                <a:lnTo>
                  <a:pt x="2054" y="566"/>
                </a:lnTo>
                <a:lnTo>
                  <a:pt x="2058" y="598"/>
                </a:lnTo>
                <a:lnTo>
                  <a:pt x="2058" y="630"/>
                </a:lnTo>
                <a:lnTo>
                  <a:pt x="2058" y="630"/>
                </a:lnTo>
                <a:lnTo>
                  <a:pt x="2056" y="678"/>
                </a:lnTo>
                <a:lnTo>
                  <a:pt x="2050" y="724"/>
                </a:lnTo>
                <a:lnTo>
                  <a:pt x="2042" y="770"/>
                </a:lnTo>
                <a:lnTo>
                  <a:pt x="2030" y="814"/>
                </a:lnTo>
                <a:lnTo>
                  <a:pt x="2016" y="858"/>
                </a:lnTo>
                <a:lnTo>
                  <a:pt x="1998" y="900"/>
                </a:lnTo>
                <a:lnTo>
                  <a:pt x="1976" y="940"/>
                </a:lnTo>
                <a:lnTo>
                  <a:pt x="1954" y="978"/>
                </a:lnTo>
                <a:lnTo>
                  <a:pt x="1928" y="1014"/>
                </a:lnTo>
                <a:lnTo>
                  <a:pt x="1898" y="1048"/>
                </a:lnTo>
                <a:lnTo>
                  <a:pt x="1868" y="1082"/>
                </a:lnTo>
                <a:lnTo>
                  <a:pt x="1834" y="1112"/>
                </a:lnTo>
                <a:lnTo>
                  <a:pt x="1800" y="1138"/>
                </a:lnTo>
                <a:lnTo>
                  <a:pt x="1762" y="1164"/>
                </a:lnTo>
                <a:lnTo>
                  <a:pt x="1724" y="1186"/>
                </a:lnTo>
                <a:lnTo>
                  <a:pt x="1684" y="1206"/>
                </a:lnTo>
                <a:lnTo>
                  <a:pt x="1684" y="120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0DFE906C-5B1E-4829-BB33-D92B0FE9AA7F}"/>
              </a:ext>
            </a:extLst>
          </p:cNvPr>
          <p:cNvSpPr>
            <a:spLocks/>
          </p:cNvSpPr>
          <p:nvPr/>
        </p:nvSpPr>
        <p:spPr bwMode="auto">
          <a:xfrm>
            <a:off x="5539380" y="2764820"/>
            <a:ext cx="2765718" cy="2126370"/>
          </a:xfrm>
          <a:custGeom>
            <a:avLst/>
            <a:gdLst>
              <a:gd name="T0" fmla="*/ 1782 w 2310"/>
              <a:gd name="T1" fmla="*/ 1766 h 1776"/>
              <a:gd name="T2" fmla="*/ 1600 w 2310"/>
              <a:gd name="T3" fmla="*/ 1770 h 1776"/>
              <a:gd name="T4" fmla="*/ 1428 w 2310"/>
              <a:gd name="T5" fmla="*/ 1722 h 1776"/>
              <a:gd name="T6" fmla="*/ 1276 w 2310"/>
              <a:gd name="T7" fmla="*/ 1628 h 1776"/>
              <a:gd name="T8" fmla="*/ 1210 w 2310"/>
              <a:gd name="T9" fmla="*/ 1566 h 1776"/>
              <a:gd name="T10" fmla="*/ 1280 w 2310"/>
              <a:gd name="T11" fmla="*/ 1442 h 1776"/>
              <a:gd name="T12" fmla="*/ 1338 w 2310"/>
              <a:gd name="T13" fmla="*/ 1260 h 1776"/>
              <a:gd name="T14" fmla="*/ 1356 w 2310"/>
              <a:gd name="T15" fmla="*/ 1066 h 1776"/>
              <a:gd name="T16" fmla="*/ 1328 w 2310"/>
              <a:gd name="T17" fmla="*/ 868 h 1776"/>
              <a:gd name="T18" fmla="*/ 1282 w 2310"/>
              <a:gd name="T19" fmla="*/ 738 h 1776"/>
              <a:gd name="T20" fmla="*/ 1198 w 2310"/>
              <a:gd name="T21" fmla="*/ 588 h 1776"/>
              <a:gd name="T22" fmla="*/ 1088 w 2310"/>
              <a:gd name="T23" fmla="*/ 462 h 1776"/>
              <a:gd name="T24" fmla="*/ 958 w 2310"/>
              <a:gd name="T25" fmla="*/ 360 h 1776"/>
              <a:gd name="T26" fmla="*/ 812 w 2310"/>
              <a:gd name="T27" fmla="*/ 284 h 1776"/>
              <a:gd name="T28" fmla="*/ 652 w 2310"/>
              <a:gd name="T29" fmla="*/ 238 h 1776"/>
              <a:gd name="T30" fmla="*/ 484 w 2310"/>
              <a:gd name="T31" fmla="*/ 224 h 1776"/>
              <a:gd name="T32" fmla="*/ 314 w 2310"/>
              <a:gd name="T33" fmla="*/ 244 h 1776"/>
              <a:gd name="T34" fmla="*/ 198 w 2310"/>
              <a:gd name="T35" fmla="*/ 278 h 1776"/>
              <a:gd name="T36" fmla="*/ 52 w 2310"/>
              <a:gd name="T37" fmla="*/ 346 h 1776"/>
              <a:gd name="T38" fmla="*/ 40 w 2310"/>
              <a:gd name="T39" fmla="*/ 324 h 1776"/>
              <a:gd name="T40" fmla="*/ 136 w 2310"/>
              <a:gd name="T41" fmla="*/ 222 h 1776"/>
              <a:gd name="T42" fmla="*/ 250 w 2310"/>
              <a:gd name="T43" fmla="*/ 136 h 1776"/>
              <a:gd name="T44" fmla="*/ 378 w 2310"/>
              <a:gd name="T45" fmla="*/ 68 h 1776"/>
              <a:gd name="T46" fmla="*/ 488 w 2310"/>
              <a:gd name="T47" fmla="*/ 30 h 1776"/>
              <a:gd name="T48" fmla="*/ 652 w 2310"/>
              <a:gd name="T49" fmla="*/ 2 h 1776"/>
              <a:gd name="T50" fmla="*/ 814 w 2310"/>
              <a:gd name="T51" fmla="*/ 6 h 1776"/>
              <a:gd name="T52" fmla="*/ 968 w 2310"/>
              <a:gd name="T53" fmla="*/ 40 h 1776"/>
              <a:gd name="T54" fmla="*/ 1114 w 2310"/>
              <a:gd name="T55" fmla="*/ 100 h 1776"/>
              <a:gd name="T56" fmla="*/ 1248 w 2310"/>
              <a:gd name="T57" fmla="*/ 186 h 1776"/>
              <a:gd name="T58" fmla="*/ 1362 w 2310"/>
              <a:gd name="T59" fmla="*/ 296 h 1776"/>
              <a:gd name="T60" fmla="*/ 1458 w 2310"/>
              <a:gd name="T61" fmla="*/ 426 h 1776"/>
              <a:gd name="T62" fmla="*/ 1512 w 2310"/>
              <a:gd name="T63" fmla="*/ 538 h 1776"/>
              <a:gd name="T64" fmla="*/ 1634 w 2310"/>
              <a:gd name="T65" fmla="*/ 516 h 1776"/>
              <a:gd name="T66" fmla="*/ 1754 w 2310"/>
              <a:gd name="T67" fmla="*/ 520 h 1776"/>
              <a:gd name="T68" fmla="*/ 1870 w 2310"/>
              <a:gd name="T69" fmla="*/ 544 h 1776"/>
              <a:gd name="T70" fmla="*/ 1978 w 2310"/>
              <a:gd name="T71" fmla="*/ 590 h 1776"/>
              <a:gd name="T72" fmla="*/ 2076 w 2310"/>
              <a:gd name="T73" fmla="*/ 654 h 1776"/>
              <a:gd name="T74" fmla="*/ 2160 w 2310"/>
              <a:gd name="T75" fmla="*/ 738 h 1776"/>
              <a:gd name="T76" fmla="*/ 2230 w 2310"/>
              <a:gd name="T77" fmla="*/ 836 h 1776"/>
              <a:gd name="T78" fmla="*/ 2280 w 2310"/>
              <a:gd name="T79" fmla="*/ 950 h 1776"/>
              <a:gd name="T80" fmla="*/ 2302 w 2310"/>
              <a:gd name="T81" fmla="*/ 1044 h 1776"/>
              <a:gd name="T82" fmla="*/ 2310 w 2310"/>
              <a:gd name="T83" fmla="*/ 1168 h 1776"/>
              <a:gd name="T84" fmla="*/ 2294 w 2310"/>
              <a:gd name="T85" fmla="*/ 1290 h 1776"/>
              <a:gd name="T86" fmla="*/ 2254 w 2310"/>
              <a:gd name="T87" fmla="*/ 1404 h 1776"/>
              <a:gd name="T88" fmla="*/ 2194 w 2310"/>
              <a:gd name="T89" fmla="*/ 1508 h 1776"/>
              <a:gd name="T90" fmla="*/ 2116 w 2310"/>
              <a:gd name="T91" fmla="*/ 1600 h 1776"/>
              <a:gd name="T92" fmla="*/ 2018 w 2310"/>
              <a:gd name="T93" fmla="*/ 1676 h 1776"/>
              <a:gd name="T94" fmla="*/ 1906 w 2310"/>
              <a:gd name="T95" fmla="*/ 1734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310" h="1776">
                <a:moveTo>
                  <a:pt x="1874" y="1744"/>
                </a:moveTo>
                <a:lnTo>
                  <a:pt x="1874" y="1744"/>
                </a:lnTo>
                <a:lnTo>
                  <a:pt x="1828" y="1758"/>
                </a:lnTo>
                <a:lnTo>
                  <a:pt x="1782" y="1766"/>
                </a:lnTo>
                <a:lnTo>
                  <a:pt x="1736" y="1772"/>
                </a:lnTo>
                <a:lnTo>
                  <a:pt x="1690" y="1776"/>
                </a:lnTo>
                <a:lnTo>
                  <a:pt x="1644" y="1774"/>
                </a:lnTo>
                <a:lnTo>
                  <a:pt x="1600" y="1770"/>
                </a:lnTo>
                <a:lnTo>
                  <a:pt x="1556" y="1762"/>
                </a:lnTo>
                <a:lnTo>
                  <a:pt x="1512" y="1752"/>
                </a:lnTo>
                <a:lnTo>
                  <a:pt x="1468" y="1738"/>
                </a:lnTo>
                <a:lnTo>
                  <a:pt x="1428" y="1722"/>
                </a:lnTo>
                <a:lnTo>
                  <a:pt x="1388" y="1702"/>
                </a:lnTo>
                <a:lnTo>
                  <a:pt x="1348" y="1680"/>
                </a:lnTo>
                <a:lnTo>
                  <a:pt x="1312" y="1656"/>
                </a:lnTo>
                <a:lnTo>
                  <a:pt x="1276" y="1628"/>
                </a:lnTo>
                <a:lnTo>
                  <a:pt x="1242" y="1598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36" y="1526"/>
                </a:lnTo>
                <a:lnTo>
                  <a:pt x="1258" y="1484"/>
                </a:lnTo>
                <a:lnTo>
                  <a:pt x="1280" y="1442"/>
                </a:lnTo>
                <a:lnTo>
                  <a:pt x="1298" y="1396"/>
                </a:lnTo>
                <a:lnTo>
                  <a:pt x="1314" y="1352"/>
                </a:lnTo>
                <a:lnTo>
                  <a:pt x="1328" y="1306"/>
                </a:lnTo>
                <a:lnTo>
                  <a:pt x="1338" y="1260"/>
                </a:lnTo>
                <a:lnTo>
                  <a:pt x="1348" y="1212"/>
                </a:lnTo>
                <a:lnTo>
                  <a:pt x="1354" y="1164"/>
                </a:lnTo>
                <a:lnTo>
                  <a:pt x="1356" y="1116"/>
                </a:lnTo>
                <a:lnTo>
                  <a:pt x="1356" y="1066"/>
                </a:lnTo>
                <a:lnTo>
                  <a:pt x="1354" y="1016"/>
                </a:lnTo>
                <a:lnTo>
                  <a:pt x="1348" y="968"/>
                </a:lnTo>
                <a:lnTo>
                  <a:pt x="1340" y="918"/>
                </a:lnTo>
                <a:lnTo>
                  <a:pt x="1328" y="868"/>
                </a:lnTo>
                <a:lnTo>
                  <a:pt x="1314" y="820"/>
                </a:lnTo>
                <a:lnTo>
                  <a:pt x="1314" y="820"/>
                </a:lnTo>
                <a:lnTo>
                  <a:pt x="1300" y="778"/>
                </a:lnTo>
                <a:lnTo>
                  <a:pt x="1282" y="738"/>
                </a:lnTo>
                <a:lnTo>
                  <a:pt x="1264" y="698"/>
                </a:lnTo>
                <a:lnTo>
                  <a:pt x="1244" y="660"/>
                </a:lnTo>
                <a:lnTo>
                  <a:pt x="1222" y="624"/>
                </a:lnTo>
                <a:lnTo>
                  <a:pt x="1198" y="588"/>
                </a:lnTo>
                <a:lnTo>
                  <a:pt x="1174" y="554"/>
                </a:lnTo>
                <a:lnTo>
                  <a:pt x="1146" y="522"/>
                </a:lnTo>
                <a:lnTo>
                  <a:pt x="1118" y="490"/>
                </a:lnTo>
                <a:lnTo>
                  <a:pt x="1088" y="462"/>
                </a:lnTo>
                <a:lnTo>
                  <a:pt x="1058" y="434"/>
                </a:lnTo>
                <a:lnTo>
                  <a:pt x="1026" y="408"/>
                </a:lnTo>
                <a:lnTo>
                  <a:pt x="992" y="382"/>
                </a:lnTo>
                <a:lnTo>
                  <a:pt x="958" y="360"/>
                </a:lnTo>
                <a:lnTo>
                  <a:pt x="922" y="338"/>
                </a:lnTo>
                <a:lnTo>
                  <a:pt x="886" y="318"/>
                </a:lnTo>
                <a:lnTo>
                  <a:pt x="850" y="300"/>
                </a:lnTo>
                <a:lnTo>
                  <a:pt x="812" y="284"/>
                </a:lnTo>
                <a:lnTo>
                  <a:pt x="772" y="270"/>
                </a:lnTo>
                <a:lnTo>
                  <a:pt x="732" y="258"/>
                </a:lnTo>
                <a:lnTo>
                  <a:pt x="692" y="248"/>
                </a:lnTo>
                <a:lnTo>
                  <a:pt x="652" y="238"/>
                </a:lnTo>
                <a:lnTo>
                  <a:pt x="610" y="232"/>
                </a:lnTo>
                <a:lnTo>
                  <a:pt x="570" y="228"/>
                </a:lnTo>
                <a:lnTo>
                  <a:pt x="528" y="224"/>
                </a:lnTo>
                <a:lnTo>
                  <a:pt x="484" y="224"/>
                </a:lnTo>
                <a:lnTo>
                  <a:pt x="442" y="226"/>
                </a:lnTo>
                <a:lnTo>
                  <a:pt x="400" y="230"/>
                </a:lnTo>
                <a:lnTo>
                  <a:pt x="358" y="236"/>
                </a:lnTo>
                <a:lnTo>
                  <a:pt x="314" y="244"/>
                </a:lnTo>
                <a:lnTo>
                  <a:pt x="272" y="254"/>
                </a:lnTo>
                <a:lnTo>
                  <a:pt x="230" y="266"/>
                </a:lnTo>
                <a:lnTo>
                  <a:pt x="230" y="266"/>
                </a:lnTo>
                <a:lnTo>
                  <a:pt x="198" y="278"/>
                </a:lnTo>
                <a:lnTo>
                  <a:pt x="168" y="290"/>
                </a:lnTo>
                <a:lnTo>
                  <a:pt x="138" y="302"/>
                </a:lnTo>
                <a:lnTo>
                  <a:pt x="108" y="316"/>
                </a:lnTo>
                <a:lnTo>
                  <a:pt x="52" y="346"/>
                </a:lnTo>
                <a:lnTo>
                  <a:pt x="0" y="382"/>
                </a:lnTo>
                <a:lnTo>
                  <a:pt x="0" y="382"/>
                </a:lnTo>
                <a:lnTo>
                  <a:pt x="20" y="352"/>
                </a:lnTo>
                <a:lnTo>
                  <a:pt x="40" y="324"/>
                </a:lnTo>
                <a:lnTo>
                  <a:pt x="64" y="298"/>
                </a:lnTo>
                <a:lnTo>
                  <a:pt x="86" y="272"/>
                </a:lnTo>
                <a:lnTo>
                  <a:pt x="112" y="246"/>
                </a:lnTo>
                <a:lnTo>
                  <a:pt x="136" y="222"/>
                </a:lnTo>
                <a:lnTo>
                  <a:pt x="164" y="200"/>
                </a:lnTo>
                <a:lnTo>
                  <a:pt x="192" y="178"/>
                </a:lnTo>
                <a:lnTo>
                  <a:pt x="220" y="156"/>
                </a:lnTo>
                <a:lnTo>
                  <a:pt x="250" y="136"/>
                </a:lnTo>
                <a:lnTo>
                  <a:pt x="280" y="118"/>
                </a:lnTo>
                <a:lnTo>
                  <a:pt x="312" y="100"/>
                </a:lnTo>
                <a:lnTo>
                  <a:pt x="344" y="84"/>
                </a:lnTo>
                <a:lnTo>
                  <a:pt x="378" y="68"/>
                </a:lnTo>
                <a:lnTo>
                  <a:pt x="412" y="56"/>
                </a:lnTo>
                <a:lnTo>
                  <a:pt x="448" y="42"/>
                </a:lnTo>
                <a:lnTo>
                  <a:pt x="448" y="42"/>
                </a:lnTo>
                <a:lnTo>
                  <a:pt x="488" y="30"/>
                </a:lnTo>
                <a:lnTo>
                  <a:pt x="530" y="20"/>
                </a:lnTo>
                <a:lnTo>
                  <a:pt x="570" y="12"/>
                </a:lnTo>
                <a:lnTo>
                  <a:pt x="612" y="6"/>
                </a:lnTo>
                <a:lnTo>
                  <a:pt x="652" y="2"/>
                </a:lnTo>
                <a:lnTo>
                  <a:pt x="692" y="0"/>
                </a:lnTo>
                <a:lnTo>
                  <a:pt x="734" y="0"/>
                </a:lnTo>
                <a:lnTo>
                  <a:pt x="774" y="2"/>
                </a:lnTo>
                <a:lnTo>
                  <a:pt x="814" y="6"/>
                </a:lnTo>
                <a:lnTo>
                  <a:pt x="852" y="12"/>
                </a:lnTo>
                <a:lnTo>
                  <a:pt x="892" y="20"/>
                </a:lnTo>
                <a:lnTo>
                  <a:pt x="930" y="28"/>
                </a:lnTo>
                <a:lnTo>
                  <a:pt x="968" y="40"/>
                </a:lnTo>
                <a:lnTo>
                  <a:pt x="1006" y="52"/>
                </a:lnTo>
                <a:lnTo>
                  <a:pt x="1044" y="66"/>
                </a:lnTo>
                <a:lnTo>
                  <a:pt x="1080" y="82"/>
                </a:lnTo>
                <a:lnTo>
                  <a:pt x="1114" y="100"/>
                </a:lnTo>
                <a:lnTo>
                  <a:pt x="1150" y="118"/>
                </a:lnTo>
                <a:lnTo>
                  <a:pt x="1182" y="140"/>
                </a:lnTo>
                <a:lnTo>
                  <a:pt x="1216" y="162"/>
                </a:lnTo>
                <a:lnTo>
                  <a:pt x="1248" y="186"/>
                </a:lnTo>
                <a:lnTo>
                  <a:pt x="1278" y="210"/>
                </a:lnTo>
                <a:lnTo>
                  <a:pt x="1308" y="238"/>
                </a:lnTo>
                <a:lnTo>
                  <a:pt x="1336" y="266"/>
                </a:lnTo>
                <a:lnTo>
                  <a:pt x="1362" y="296"/>
                </a:lnTo>
                <a:lnTo>
                  <a:pt x="1388" y="326"/>
                </a:lnTo>
                <a:lnTo>
                  <a:pt x="1412" y="358"/>
                </a:lnTo>
                <a:lnTo>
                  <a:pt x="1436" y="392"/>
                </a:lnTo>
                <a:lnTo>
                  <a:pt x="1458" y="426"/>
                </a:lnTo>
                <a:lnTo>
                  <a:pt x="1476" y="462"/>
                </a:lnTo>
                <a:lnTo>
                  <a:pt x="1496" y="500"/>
                </a:lnTo>
                <a:lnTo>
                  <a:pt x="1512" y="538"/>
                </a:lnTo>
                <a:lnTo>
                  <a:pt x="1512" y="538"/>
                </a:lnTo>
                <a:lnTo>
                  <a:pt x="1542" y="530"/>
                </a:lnTo>
                <a:lnTo>
                  <a:pt x="1572" y="524"/>
                </a:lnTo>
                <a:lnTo>
                  <a:pt x="1604" y="520"/>
                </a:lnTo>
                <a:lnTo>
                  <a:pt x="1634" y="516"/>
                </a:lnTo>
                <a:lnTo>
                  <a:pt x="1664" y="514"/>
                </a:lnTo>
                <a:lnTo>
                  <a:pt x="1694" y="514"/>
                </a:lnTo>
                <a:lnTo>
                  <a:pt x="1724" y="516"/>
                </a:lnTo>
                <a:lnTo>
                  <a:pt x="1754" y="520"/>
                </a:lnTo>
                <a:lnTo>
                  <a:pt x="1782" y="524"/>
                </a:lnTo>
                <a:lnTo>
                  <a:pt x="1812" y="528"/>
                </a:lnTo>
                <a:lnTo>
                  <a:pt x="1840" y="536"/>
                </a:lnTo>
                <a:lnTo>
                  <a:pt x="1870" y="544"/>
                </a:lnTo>
                <a:lnTo>
                  <a:pt x="1898" y="554"/>
                </a:lnTo>
                <a:lnTo>
                  <a:pt x="1924" y="564"/>
                </a:lnTo>
                <a:lnTo>
                  <a:pt x="1952" y="576"/>
                </a:lnTo>
                <a:lnTo>
                  <a:pt x="1978" y="590"/>
                </a:lnTo>
                <a:lnTo>
                  <a:pt x="2004" y="604"/>
                </a:lnTo>
                <a:lnTo>
                  <a:pt x="2028" y="620"/>
                </a:lnTo>
                <a:lnTo>
                  <a:pt x="2052" y="636"/>
                </a:lnTo>
                <a:lnTo>
                  <a:pt x="2076" y="654"/>
                </a:lnTo>
                <a:lnTo>
                  <a:pt x="2098" y="674"/>
                </a:lnTo>
                <a:lnTo>
                  <a:pt x="2120" y="694"/>
                </a:lnTo>
                <a:lnTo>
                  <a:pt x="2142" y="716"/>
                </a:lnTo>
                <a:lnTo>
                  <a:pt x="2160" y="738"/>
                </a:lnTo>
                <a:lnTo>
                  <a:pt x="2180" y="760"/>
                </a:lnTo>
                <a:lnTo>
                  <a:pt x="2198" y="784"/>
                </a:lnTo>
                <a:lnTo>
                  <a:pt x="2214" y="810"/>
                </a:lnTo>
                <a:lnTo>
                  <a:pt x="2230" y="836"/>
                </a:lnTo>
                <a:lnTo>
                  <a:pt x="2244" y="864"/>
                </a:lnTo>
                <a:lnTo>
                  <a:pt x="2258" y="892"/>
                </a:lnTo>
                <a:lnTo>
                  <a:pt x="2270" y="920"/>
                </a:lnTo>
                <a:lnTo>
                  <a:pt x="2280" y="950"/>
                </a:lnTo>
                <a:lnTo>
                  <a:pt x="2280" y="950"/>
                </a:lnTo>
                <a:lnTo>
                  <a:pt x="2288" y="982"/>
                </a:lnTo>
                <a:lnTo>
                  <a:pt x="2296" y="1012"/>
                </a:lnTo>
                <a:lnTo>
                  <a:pt x="2302" y="1044"/>
                </a:lnTo>
                <a:lnTo>
                  <a:pt x="2306" y="1076"/>
                </a:lnTo>
                <a:lnTo>
                  <a:pt x="2310" y="1106"/>
                </a:lnTo>
                <a:lnTo>
                  <a:pt x="2310" y="1138"/>
                </a:lnTo>
                <a:lnTo>
                  <a:pt x="2310" y="1168"/>
                </a:lnTo>
                <a:lnTo>
                  <a:pt x="2308" y="1198"/>
                </a:lnTo>
                <a:lnTo>
                  <a:pt x="2304" y="1230"/>
                </a:lnTo>
                <a:lnTo>
                  <a:pt x="2300" y="1260"/>
                </a:lnTo>
                <a:lnTo>
                  <a:pt x="2294" y="1290"/>
                </a:lnTo>
                <a:lnTo>
                  <a:pt x="2286" y="1318"/>
                </a:lnTo>
                <a:lnTo>
                  <a:pt x="2276" y="1348"/>
                </a:lnTo>
                <a:lnTo>
                  <a:pt x="2266" y="1376"/>
                </a:lnTo>
                <a:lnTo>
                  <a:pt x="2254" y="1404"/>
                </a:lnTo>
                <a:lnTo>
                  <a:pt x="2242" y="1432"/>
                </a:lnTo>
                <a:lnTo>
                  <a:pt x="2228" y="1458"/>
                </a:lnTo>
                <a:lnTo>
                  <a:pt x="2212" y="1484"/>
                </a:lnTo>
                <a:lnTo>
                  <a:pt x="2194" y="1508"/>
                </a:lnTo>
                <a:lnTo>
                  <a:pt x="2176" y="1534"/>
                </a:lnTo>
                <a:lnTo>
                  <a:pt x="2158" y="1556"/>
                </a:lnTo>
                <a:lnTo>
                  <a:pt x="2136" y="1580"/>
                </a:lnTo>
                <a:lnTo>
                  <a:pt x="2116" y="1600"/>
                </a:lnTo>
                <a:lnTo>
                  <a:pt x="2092" y="1622"/>
                </a:lnTo>
                <a:lnTo>
                  <a:pt x="2070" y="1642"/>
                </a:lnTo>
                <a:lnTo>
                  <a:pt x="2044" y="1660"/>
                </a:lnTo>
                <a:lnTo>
                  <a:pt x="2018" y="1676"/>
                </a:lnTo>
                <a:lnTo>
                  <a:pt x="1992" y="1692"/>
                </a:lnTo>
                <a:lnTo>
                  <a:pt x="1964" y="1708"/>
                </a:lnTo>
                <a:lnTo>
                  <a:pt x="1936" y="1722"/>
                </a:lnTo>
                <a:lnTo>
                  <a:pt x="1906" y="1734"/>
                </a:lnTo>
                <a:lnTo>
                  <a:pt x="1874" y="1744"/>
                </a:lnTo>
                <a:lnTo>
                  <a:pt x="1874" y="1744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F60FB5D6-0DA8-55F4-6ED0-62BE3082920D}"/>
              </a:ext>
            </a:extLst>
          </p:cNvPr>
          <p:cNvSpPr>
            <a:spLocks/>
          </p:cNvSpPr>
          <p:nvPr/>
        </p:nvSpPr>
        <p:spPr bwMode="auto">
          <a:xfrm rot="21374256">
            <a:off x="5265899" y="3158630"/>
            <a:ext cx="1850995" cy="2921363"/>
          </a:xfrm>
          <a:custGeom>
            <a:avLst/>
            <a:gdLst>
              <a:gd name="T0" fmla="*/ 1210 w 1546"/>
              <a:gd name="T1" fmla="*/ 1564 h 2440"/>
              <a:gd name="T2" fmla="*/ 1246 w 1546"/>
              <a:gd name="T3" fmla="*/ 1680 h 2440"/>
              <a:gd name="T4" fmla="*/ 1260 w 1546"/>
              <a:gd name="T5" fmla="*/ 1798 h 2440"/>
              <a:gd name="T6" fmla="*/ 1252 w 1546"/>
              <a:gd name="T7" fmla="*/ 1916 h 2440"/>
              <a:gd name="T8" fmla="*/ 1222 w 1546"/>
              <a:gd name="T9" fmla="*/ 2030 h 2440"/>
              <a:gd name="T10" fmla="*/ 1170 w 1546"/>
              <a:gd name="T11" fmla="*/ 2136 h 2440"/>
              <a:gd name="T12" fmla="*/ 1098 w 1546"/>
              <a:gd name="T13" fmla="*/ 2232 h 2440"/>
              <a:gd name="T14" fmla="*/ 1008 w 1546"/>
              <a:gd name="T15" fmla="*/ 2314 h 2440"/>
              <a:gd name="T16" fmla="*/ 928 w 1546"/>
              <a:gd name="T17" fmla="*/ 2366 h 2440"/>
              <a:gd name="T18" fmla="*/ 812 w 1546"/>
              <a:gd name="T19" fmla="*/ 2414 h 2440"/>
              <a:gd name="T20" fmla="*/ 690 w 1546"/>
              <a:gd name="T21" fmla="*/ 2438 h 2440"/>
              <a:gd name="T22" fmla="*/ 570 w 1546"/>
              <a:gd name="T23" fmla="*/ 2438 h 2440"/>
              <a:gd name="T24" fmla="*/ 450 w 1546"/>
              <a:gd name="T25" fmla="*/ 2414 h 2440"/>
              <a:gd name="T26" fmla="*/ 338 w 1546"/>
              <a:gd name="T27" fmla="*/ 2368 h 2440"/>
              <a:gd name="T28" fmla="*/ 236 w 1546"/>
              <a:gd name="T29" fmla="*/ 2302 h 2440"/>
              <a:gd name="T30" fmla="*/ 148 w 1546"/>
              <a:gd name="T31" fmla="*/ 2214 h 2440"/>
              <a:gd name="T32" fmla="*/ 92 w 1546"/>
              <a:gd name="T33" fmla="*/ 2136 h 2440"/>
              <a:gd name="T34" fmla="*/ 20 w 1546"/>
              <a:gd name="T35" fmla="*/ 1964 h 2440"/>
              <a:gd name="T36" fmla="*/ 0 w 1546"/>
              <a:gd name="T37" fmla="*/ 1784 h 2440"/>
              <a:gd name="T38" fmla="*/ 34 w 1546"/>
              <a:gd name="T39" fmla="*/ 1610 h 2440"/>
              <a:gd name="T40" fmla="*/ 114 w 1546"/>
              <a:gd name="T41" fmla="*/ 1450 h 2440"/>
              <a:gd name="T42" fmla="*/ 158 w 1546"/>
              <a:gd name="T43" fmla="*/ 1464 h 2440"/>
              <a:gd name="T44" fmla="*/ 346 w 1546"/>
              <a:gd name="T45" fmla="*/ 1502 h 2440"/>
              <a:gd name="T46" fmla="*/ 538 w 1546"/>
              <a:gd name="T47" fmla="*/ 1496 h 2440"/>
              <a:gd name="T48" fmla="*/ 728 w 1546"/>
              <a:gd name="T49" fmla="*/ 1446 h 2440"/>
              <a:gd name="T50" fmla="*/ 864 w 1546"/>
              <a:gd name="T51" fmla="*/ 1380 h 2440"/>
              <a:gd name="T52" fmla="*/ 1002 w 1546"/>
              <a:gd name="T53" fmla="*/ 1276 h 2440"/>
              <a:gd name="T54" fmla="*/ 1116 w 1546"/>
              <a:gd name="T55" fmla="*/ 1148 h 2440"/>
              <a:gd name="T56" fmla="*/ 1200 w 1546"/>
              <a:gd name="T57" fmla="*/ 1004 h 2440"/>
              <a:gd name="T58" fmla="*/ 1254 w 1546"/>
              <a:gd name="T59" fmla="*/ 848 h 2440"/>
              <a:gd name="T60" fmla="*/ 1278 w 1546"/>
              <a:gd name="T61" fmla="*/ 686 h 2440"/>
              <a:gd name="T62" fmla="*/ 1270 w 1546"/>
              <a:gd name="T63" fmla="*/ 520 h 2440"/>
              <a:gd name="T64" fmla="*/ 1230 w 1546"/>
              <a:gd name="T65" fmla="*/ 354 h 2440"/>
              <a:gd name="T66" fmla="*/ 1154 w 1546"/>
              <a:gd name="T67" fmla="*/ 198 h 2440"/>
              <a:gd name="T68" fmla="*/ 1100 w 1546"/>
              <a:gd name="T69" fmla="*/ 116 h 2440"/>
              <a:gd name="T70" fmla="*/ 990 w 1546"/>
              <a:gd name="T71" fmla="*/ 0 h 2440"/>
              <a:gd name="T72" fmla="*/ 1116 w 1546"/>
              <a:gd name="T73" fmla="*/ 60 h 2440"/>
              <a:gd name="T74" fmla="*/ 1232 w 1546"/>
              <a:gd name="T75" fmla="*/ 140 h 2440"/>
              <a:gd name="T76" fmla="*/ 1336 w 1546"/>
              <a:gd name="T77" fmla="*/ 240 h 2440"/>
              <a:gd name="T78" fmla="*/ 1422 w 1546"/>
              <a:gd name="T79" fmla="*/ 360 h 2440"/>
              <a:gd name="T80" fmla="*/ 1480 w 1546"/>
              <a:gd name="T81" fmla="*/ 472 h 2440"/>
              <a:gd name="T82" fmla="*/ 1528 w 1546"/>
              <a:gd name="T83" fmla="*/ 628 h 2440"/>
              <a:gd name="T84" fmla="*/ 1546 w 1546"/>
              <a:gd name="T85" fmla="*/ 786 h 2440"/>
              <a:gd name="T86" fmla="*/ 1536 w 1546"/>
              <a:gd name="T87" fmla="*/ 944 h 2440"/>
              <a:gd name="T88" fmla="*/ 1496 w 1546"/>
              <a:gd name="T89" fmla="*/ 1096 h 2440"/>
              <a:gd name="T90" fmla="*/ 1428 w 1546"/>
              <a:gd name="T91" fmla="*/ 1240 h 2440"/>
              <a:gd name="T92" fmla="*/ 1336 w 1546"/>
              <a:gd name="T93" fmla="*/ 1370 h 2440"/>
              <a:gd name="T94" fmla="*/ 1216 w 1546"/>
              <a:gd name="T95" fmla="*/ 1482 h 2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6" h="2440">
                <a:moveTo>
                  <a:pt x="1184" y="1508"/>
                </a:moveTo>
                <a:lnTo>
                  <a:pt x="1184" y="1508"/>
                </a:lnTo>
                <a:lnTo>
                  <a:pt x="1198" y="1536"/>
                </a:lnTo>
                <a:lnTo>
                  <a:pt x="1210" y="1564"/>
                </a:lnTo>
                <a:lnTo>
                  <a:pt x="1222" y="1592"/>
                </a:lnTo>
                <a:lnTo>
                  <a:pt x="1232" y="1622"/>
                </a:lnTo>
                <a:lnTo>
                  <a:pt x="1240" y="1650"/>
                </a:lnTo>
                <a:lnTo>
                  <a:pt x="1246" y="1680"/>
                </a:lnTo>
                <a:lnTo>
                  <a:pt x="1252" y="1710"/>
                </a:lnTo>
                <a:lnTo>
                  <a:pt x="1256" y="1738"/>
                </a:lnTo>
                <a:lnTo>
                  <a:pt x="1260" y="1768"/>
                </a:lnTo>
                <a:lnTo>
                  <a:pt x="1260" y="1798"/>
                </a:lnTo>
                <a:lnTo>
                  <a:pt x="1260" y="1828"/>
                </a:lnTo>
                <a:lnTo>
                  <a:pt x="1258" y="1858"/>
                </a:lnTo>
                <a:lnTo>
                  <a:pt x="1256" y="1886"/>
                </a:lnTo>
                <a:lnTo>
                  <a:pt x="1252" y="1916"/>
                </a:lnTo>
                <a:lnTo>
                  <a:pt x="1246" y="1944"/>
                </a:lnTo>
                <a:lnTo>
                  <a:pt x="1240" y="1974"/>
                </a:lnTo>
                <a:lnTo>
                  <a:pt x="1230" y="2002"/>
                </a:lnTo>
                <a:lnTo>
                  <a:pt x="1222" y="2030"/>
                </a:lnTo>
                <a:lnTo>
                  <a:pt x="1210" y="2056"/>
                </a:lnTo>
                <a:lnTo>
                  <a:pt x="1198" y="2084"/>
                </a:lnTo>
                <a:lnTo>
                  <a:pt x="1184" y="2110"/>
                </a:lnTo>
                <a:lnTo>
                  <a:pt x="1170" y="2136"/>
                </a:lnTo>
                <a:lnTo>
                  <a:pt x="1154" y="2160"/>
                </a:lnTo>
                <a:lnTo>
                  <a:pt x="1136" y="2186"/>
                </a:lnTo>
                <a:lnTo>
                  <a:pt x="1118" y="2208"/>
                </a:lnTo>
                <a:lnTo>
                  <a:pt x="1098" y="2232"/>
                </a:lnTo>
                <a:lnTo>
                  <a:pt x="1078" y="2254"/>
                </a:lnTo>
                <a:lnTo>
                  <a:pt x="1056" y="2274"/>
                </a:lnTo>
                <a:lnTo>
                  <a:pt x="1034" y="2296"/>
                </a:lnTo>
                <a:lnTo>
                  <a:pt x="1008" y="2314"/>
                </a:lnTo>
                <a:lnTo>
                  <a:pt x="984" y="2332"/>
                </a:lnTo>
                <a:lnTo>
                  <a:pt x="956" y="2350"/>
                </a:lnTo>
                <a:lnTo>
                  <a:pt x="956" y="2350"/>
                </a:lnTo>
                <a:lnTo>
                  <a:pt x="928" y="2366"/>
                </a:lnTo>
                <a:lnTo>
                  <a:pt x="900" y="2380"/>
                </a:lnTo>
                <a:lnTo>
                  <a:pt x="870" y="2392"/>
                </a:lnTo>
                <a:lnTo>
                  <a:pt x="842" y="2404"/>
                </a:lnTo>
                <a:lnTo>
                  <a:pt x="812" y="2414"/>
                </a:lnTo>
                <a:lnTo>
                  <a:pt x="782" y="2422"/>
                </a:lnTo>
                <a:lnTo>
                  <a:pt x="752" y="2428"/>
                </a:lnTo>
                <a:lnTo>
                  <a:pt x="722" y="2434"/>
                </a:lnTo>
                <a:lnTo>
                  <a:pt x="690" y="2438"/>
                </a:lnTo>
                <a:lnTo>
                  <a:pt x="660" y="2440"/>
                </a:lnTo>
                <a:lnTo>
                  <a:pt x="630" y="2440"/>
                </a:lnTo>
                <a:lnTo>
                  <a:pt x="600" y="2440"/>
                </a:lnTo>
                <a:lnTo>
                  <a:pt x="570" y="2438"/>
                </a:lnTo>
                <a:lnTo>
                  <a:pt x="540" y="2434"/>
                </a:lnTo>
                <a:lnTo>
                  <a:pt x="510" y="2428"/>
                </a:lnTo>
                <a:lnTo>
                  <a:pt x="480" y="2422"/>
                </a:lnTo>
                <a:lnTo>
                  <a:pt x="450" y="2414"/>
                </a:lnTo>
                <a:lnTo>
                  <a:pt x="422" y="2404"/>
                </a:lnTo>
                <a:lnTo>
                  <a:pt x="394" y="2394"/>
                </a:lnTo>
                <a:lnTo>
                  <a:pt x="366" y="2382"/>
                </a:lnTo>
                <a:lnTo>
                  <a:pt x="338" y="2368"/>
                </a:lnTo>
                <a:lnTo>
                  <a:pt x="312" y="2354"/>
                </a:lnTo>
                <a:lnTo>
                  <a:pt x="286" y="2338"/>
                </a:lnTo>
                <a:lnTo>
                  <a:pt x="260" y="2320"/>
                </a:lnTo>
                <a:lnTo>
                  <a:pt x="236" y="2302"/>
                </a:lnTo>
                <a:lnTo>
                  <a:pt x="212" y="2282"/>
                </a:lnTo>
                <a:lnTo>
                  <a:pt x="190" y="2260"/>
                </a:lnTo>
                <a:lnTo>
                  <a:pt x="168" y="2238"/>
                </a:lnTo>
                <a:lnTo>
                  <a:pt x="148" y="2214"/>
                </a:lnTo>
                <a:lnTo>
                  <a:pt x="128" y="2190"/>
                </a:lnTo>
                <a:lnTo>
                  <a:pt x="108" y="2164"/>
                </a:lnTo>
                <a:lnTo>
                  <a:pt x="92" y="2136"/>
                </a:lnTo>
                <a:lnTo>
                  <a:pt x="92" y="2136"/>
                </a:lnTo>
                <a:lnTo>
                  <a:pt x="68" y="2094"/>
                </a:lnTo>
                <a:lnTo>
                  <a:pt x="48" y="2052"/>
                </a:lnTo>
                <a:lnTo>
                  <a:pt x="32" y="2008"/>
                </a:lnTo>
                <a:lnTo>
                  <a:pt x="20" y="1964"/>
                </a:lnTo>
                <a:lnTo>
                  <a:pt x="10" y="1920"/>
                </a:lnTo>
                <a:lnTo>
                  <a:pt x="4" y="1874"/>
                </a:lnTo>
                <a:lnTo>
                  <a:pt x="0" y="1830"/>
                </a:lnTo>
                <a:lnTo>
                  <a:pt x="0" y="1784"/>
                </a:lnTo>
                <a:lnTo>
                  <a:pt x="4" y="1740"/>
                </a:lnTo>
                <a:lnTo>
                  <a:pt x="10" y="1696"/>
                </a:lnTo>
                <a:lnTo>
                  <a:pt x="20" y="1652"/>
                </a:lnTo>
                <a:lnTo>
                  <a:pt x="34" y="1610"/>
                </a:lnTo>
                <a:lnTo>
                  <a:pt x="48" y="1568"/>
                </a:lnTo>
                <a:lnTo>
                  <a:pt x="68" y="1526"/>
                </a:lnTo>
                <a:lnTo>
                  <a:pt x="90" y="1488"/>
                </a:lnTo>
                <a:lnTo>
                  <a:pt x="114" y="1450"/>
                </a:lnTo>
                <a:lnTo>
                  <a:pt x="114" y="1450"/>
                </a:lnTo>
                <a:lnTo>
                  <a:pt x="112" y="1448"/>
                </a:lnTo>
                <a:lnTo>
                  <a:pt x="112" y="1448"/>
                </a:lnTo>
                <a:lnTo>
                  <a:pt x="158" y="1464"/>
                </a:lnTo>
                <a:lnTo>
                  <a:pt x="204" y="1478"/>
                </a:lnTo>
                <a:lnTo>
                  <a:pt x="250" y="1488"/>
                </a:lnTo>
                <a:lnTo>
                  <a:pt x="298" y="1496"/>
                </a:lnTo>
                <a:lnTo>
                  <a:pt x="346" y="1502"/>
                </a:lnTo>
                <a:lnTo>
                  <a:pt x="394" y="1504"/>
                </a:lnTo>
                <a:lnTo>
                  <a:pt x="442" y="1504"/>
                </a:lnTo>
                <a:lnTo>
                  <a:pt x="490" y="1502"/>
                </a:lnTo>
                <a:lnTo>
                  <a:pt x="538" y="1496"/>
                </a:lnTo>
                <a:lnTo>
                  <a:pt x="586" y="1488"/>
                </a:lnTo>
                <a:lnTo>
                  <a:pt x="634" y="1478"/>
                </a:lnTo>
                <a:lnTo>
                  <a:pt x="680" y="1464"/>
                </a:lnTo>
                <a:lnTo>
                  <a:pt x="728" y="1446"/>
                </a:lnTo>
                <a:lnTo>
                  <a:pt x="774" y="1428"/>
                </a:lnTo>
                <a:lnTo>
                  <a:pt x="818" y="1406"/>
                </a:lnTo>
                <a:lnTo>
                  <a:pt x="864" y="1380"/>
                </a:lnTo>
                <a:lnTo>
                  <a:pt x="864" y="1380"/>
                </a:lnTo>
                <a:lnTo>
                  <a:pt x="900" y="1356"/>
                </a:lnTo>
                <a:lnTo>
                  <a:pt x="936" y="1330"/>
                </a:lnTo>
                <a:lnTo>
                  <a:pt x="970" y="1304"/>
                </a:lnTo>
                <a:lnTo>
                  <a:pt x="1002" y="1276"/>
                </a:lnTo>
                <a:lnTo>
                  <a:pt x="1034" y="1246"/>
                </a:lnTo>
                <a:lnTo>
                  <a:pt x="1062" y="1214"/>
                </a:lnTo>
                <a:lnTo>
                  <a:pt x="1090" y="1182"/>
                </a:lnTo>
                <a:lnTo>
                  <a:pt x="1116" y="1148"/>
                </a:lnTo>
                <a:lnTo>
                  <a:pt x="1138" y="1114"/>
                </a:lnTo>
                <a:lnTo>
                  <a:pt x="1160" y="1078"/>
                </a:lnTo>
                <a:lnTo>
                  <a:pt x="1182" y="1042"/>
                </a:lnTo>
                <a:lnTo>
                  <a:pt x="1200" y="1004"/>
                </a:lnTo>
                <a:lnTo>
                  <a:pt x="1216" y="966"/>
                </a:lnTo>
                <a:lnTo>
                  <a:pt x="1230" y="928"/>
                </a:lnTo>
                <a:lnTo>
                  <a:pt x="1244" y="888"/>
                </a:lnTo>
                <a:lnTo>
                  <a:pt x="1254" y="848"/>
                </a:lnTo>
                <a:lnTo>
                  <a:pt x="1262" y="808"/>
                </a:lnTo>
                <a:lnTo>
                  <a:pt x="1270" y="768"/>
                </a:lnTo>
                <a:lnTo>
                  <a:pt x="1274" y="726"/>
                </a:lnTo>
                <a:lnTo>
                  <a:pt x="1278" y="686"/>
                </a:lnTo>
                <a:lnTo>
                  <a:pt x="1278" y="644"/>
                </a:lnTo>
                <a:lnTo>
                  <a:pt x="1278" y="602"/>
                </a:lnTo>
                <a:lnTo>
                  <a:pt x="1276" y="560"/>
                </a:lnTo>
                <a:lnTo>
                  <a:pt x="1270" y="520"/>
                </a:lnTo>
                <a:lnTo>
                  <a:pt x="1264" y="478"/>
                </a:lnTo>
                <a:lnTo>
                  <a:pt x="1254" y="436"/>
                </a:lnTo>
                <a:lnTo>
                  <a:pt x="1242" y="396"/>
                </a:lnTo>
                <a:lnTo>
                  <a:pt x="1230" y="354"/>
                </a:lnTo>
                <a:lnTo>
                  <a:pt x="1214" y="314"/>
                </a:lnTo>
                <a:lnTo>
                  <a:pt x="1196" y="276"/>
                </a:lnTo>
                <a:lnTo>
                  <a:pt x="1176" y="236"/>
                </a:lnTo>
                <a:lnTo>
                  <a:pt x="1154" y="198"/>
                </a:lnTo>
                <a:lnTo>
                  <a:pt x="1154" y="198"/>
                </a:lnTo>
                <a:lnTo>
                  <a:pt x="1136" y="170"/>
                </a:lnTo>
                <a:lnTo>
                  <a:pt x="1118" y="142"/>
                </a:lnTo>
                <a:lnTo>
                  <a:pt x="1100" y="116"/>
                </a:lnTo>
                <a:lnTo>
                  <a:pt x="1078" y="92"/>
                </a:lnTo>
                <a:lnTo>
                  <a:pt x="1036" y="44"/>
                </a:lnTo>
                <a:lnTo>
                  <a:pt x="990" y="0"/>
                </a:lnTo>
                <a:lnTo>
                  <a:pt x="990" y="0"/>
                </a:lnTo>
                <a:lnTo>
                  <a:pt x="1022" y="12"/>
                </a:lnTo>
                <a:lnTo>
                  <a:pt x="1054" y="28"/>
                </a:lnTo>
                <a:lnTo>
                  <a:pt x="1086" y="42"/>
                </a:lnTo>
                <a:lnTo>
                  <a:pt x="1116" y="60"/>
                </a:lnTo>
                <a:lnTo>
                  <a:pt x="1146" y="78"/>
                </a:lnTo>
                <a:lnTo>
                  <a:pt x="1176" y="98"/>
                </a:lnTo>
                <a:lnTo>
                  <a:pt x="1204" y="118"/>
                </a:lnTo>
                <a:lnTo>
                  <a:pt x="1232" y="140"/>
                </a:lnTo>
                <a:lnTo>
                  <a:pt x="1260" y="164"/>
                </a:lnTo>
                <a:lnTo>
                  <a:pt x="1286" y="188"/>
                </a:lnTo>
                <a:lnTo>
                  <a:pt x="1312" y="214"/>
                </a:lnTo>
                <a:lnTo>
                  <a:pt x="1336" y="240"/>
                </a:lnTo>
                <a:lnTo>
                  <a:pt x="1358" y="268"/>
                </a:lnTo>
                <a:lnTo>
                  <a:pt x="1380" y="298"/>
                </a:lnTo>
                <a:lnTo>
                  <a:pt x="1402" y="328"/>
                </a:lnTo>
                <a:lnTo>
                  <a:pt x="1422" y="360"/>
                </a:lnTo>
                <a:lnTo>
                  <a:pt x="1422" y="360"/>
                </a:lnTo>
                <a:lnTo>
                  <a:pt x="1444" y="396"/>
                </a:lnTo>
                <a:lnTo>
                  <a:pt x="1462" y="434"/>
                </a:lnTo>
                <a:lnTo>
                  <a:pt x="1480" y="472"/>
                </a:lnTo>
                <a:lnTo>
                  <a:pt x="1494" y="510"/>
                </a:lnTo>
                <a:lnTo>
                  <a:pt x="1508" y="548"/>
                </a:lnTo>
                <a:lnTo>
                  <a:pt x="1518" y="588"/>
                </a:lnTo>
                <a:lnTo>
                  <a:pt x="1528" y="628"/>
                </a:lnTo>
                <a:lnTo>
                  <a:pt x="1536" y="666"/>
                </a:lnTo>
                <a:lnTo>
                  <a:pt x="1542" y="706"/>
                </a:lnTo>
                <a:lnTo>
                  <a:pt x="1544" y="746"/>
                </a:lnTo>
                <a:lnTo>
                  <a:pt x="1546" y="786"/>
                </a:lnTo>
                <a:lnTo>
                  <a:pt x="1546" y="826"/>
                </a:lnTo>
                <a:lnTo>
                  <a:pt x="1544" y="866"/>
                </a:lnTo>
                <a:lnTo>
                  <a:pt x="1540" y="904"/>
                </a:lnTo>
                <a:lnTo>
                  <a:pt x="1536" y="944"/>
                </a:lnTo>
                <a:lnTo>
                  <a:pt x="1528" y="982"/>
                </a:lnTo>
                <a:lnTo>
                  <a:pt x="1520" y="1022"/>
                </a:lnTo>
                <a:lnTo>
                  <a:pt x="1508" y="1060"/>
                </a:lnTo>
                <a:lnTo>
                  <a:pt x="1496" y="1096"/>
                </a:lnTo>
                <a:lnTo>
                  <a:pt x="1482" y="1134"/>
                </a:lnTo>
                <a:lnTo>
                  <a:pt x="1466" y="1170"/>
                </a:lnTo>
                <a:lnTo>
                  <a:pt x="1448" y="1206"/>
                </a:lnTo>
                <a:lnTo>
                  <a:pt x="1428" y="1240"/>
                </a:lnTo>
                <a:lnTo>
                  <a:pt x="1408" y="1274"/>
                </a:lnTo>
                <a:lnTo>
                  <a:pt x="1386" y="1308"/>
                </a:lnTo>
                <a:lnTo>
                  <a:pt x="1362" y="1340"/>
                </a:lnTo>
                <a:lnTo>
                  <a:pt x="1336" y="1370"/>
                </a:lnTo>
                <a:lnTo>
                  <a:pt x="1308" y="1400"/>
                </a:lnTo>
                <a:lnTo>
                  <a:pt x="1280" y="1430"/>
                </a:lnTo>
                <a:lnTo>
                  <a:pt x="1248" y="1456"/>
                </a:lnTo>
                <a:lnTo>
                  <a:pt x="1216" y="1482"/>
                </a:lnTo>
                <a:lnTo>
                  <a:pt x="1184" y="1508"/>
                </a:lnTo>
                <a:lnTo>
                  <a:pt x="1184" y="1508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A28A84E5-8E25-32F2-E44C-5D96391CAF04}"/>
              </a:ext>
            </a:extLst>
          </p:cNvPr>
          <p:cNvSpPr>
            <a:spLocks/>
          </p:cNvSpPr>
          <p:nvPr/>
        </p:nvSpPr>
        <p:spPr bwMode="auto">
          <a:xfrm>
            <a:off x="3820081" y="3622973"/>
            <a:ext cx="2892629" cy="1508573"/>
          </a:xfrm>
          <a:custGeom>
            <a:avLst/>
            <a:gdLst>
              <a:gd name="T0" fmla="*/ 2234 w 2416"/>
              <a:gd name="T1" fmla="*/ 758 h 1260"/>
              <a:gd name="T2" fmla="*/ 2122 w 2416"/>
              <a:gd name="T3" fmla="*/ 878 h 1260"/>
              <a:gd name="T4" fmla="*/ 1992 w 2416"/>
              <a:gd name="T5" fmla="*/ 972 h 1260"/>
              <a:gd name="T6" fmla="*/ 1848 w 2416"/>
              <a:gd name="T7" fmla="*/ 1040 h 1260"/>
              <a:gd name="T8" fmla="*/ 1696 w 2416"/>
              <a:gd name="T9" fmla="*/ 1080 h 1260"/>
              <a:gd name="T10" fmla="*/ 1538 w 2416"/>
              <a:gd name="T11" fmla="*/ 1092 h 1260"/>
              <a:gd name="T12" fmla="*/ 1378 w 2416"/>
              <a:gd name="T13" fmla="*/ 1074 h 1260"/>
              <a:gd name="T14" fmla="*/ 1224 w 2416"/>
              <a:gd name="T15" fmla="*/ 1026 h 1260"/>
              <a:gd name="T16" fmla="*/ 1130 w 2416"/>
              <a:gd name="T17" fmla="*/ 1014 h 1260"/>
              <a:gd name="T18" fmla="*/ 1046 w 2416"/>
              <a:gd name="T19" fmla="*/ 1104 h 1260"/>
              <a:gd name="T20" fmla="*/ 950 w 2416"/>
              <a:gd name="T21" fmla="*/ 1174 h 1260"/>
              <a:gd name="T22" fmla="*/ 842 w 2416"/>
              <a:gd name="T23" fmla="*/ 1224 h 1260"/>
              <a:gd name="T24" fmla="*/ 728 w 2416"/>
              <a:gd name="T25" fmla="*/ 1252 h 1260"/>
              <a:gd name="T26" fmla="*/ 610 w 2416"/>
              <a:gd name="T27" fmla="*/ 1260 h 1260"/>
              <a:gd name="T28" fmla="*/ 492 w 2416"/>
              <a:gd name="T29" fmla="*/ 1246 h 1260"/>
              <a:gd name="T30" fmla="*/ 376 w 2416"/>
              <a:gd name="T31" fmla="*/ 1208 h 1260"/>
              <a:gd name="T32" fmla="*/ 294 w 2416"/>
              <a:gd name="T33" fmla="*/ 1164 h 1260"/>
              <a:gd name="T34" fmla="*/ 194 w 2416"/>
              <a:gd name="T35" fmla="*/ 1084 h 1260"/>
              <a:gd name="T36" fmla="*/ 114 w 2416"/>
              <a:gd name="T37" fmla="*/ 990 h 1260"/>
              <a:gd name="T38" fmla="*/ 54 w 2416"/>
              <a:gd name="T39" fmla="*/ 884 h 1260"/>
              <a:gd name="T40" fmla="*/ 16 w 2416"/>
              <a:gd name="T41" fmla="*/ 770 h 1260"/>
              <a:gd name="T42" fmla="*/ 0 w 2416"/>
              <a:gd name="T43" fmla="*/ 650 h 1260"/>
              <a:gd name="T44" fmla="*/ 8 w 2416"/>
              <a:gd name="T45" fmla="*/ 528 h 1260"/>
              <a:gd name="T46" fmla="*/ 40 w 2416"/>
              <a:gd name="T47" fmla="*/ 408 h 1260"/>
              <a:gd name="T48" fmla="*/ 98 w 2416"/>
              <a:gd name="T49" fmla="*/ 294 h 1260"/>
              <a:gd name="T50" fmla="*/ 186 w 2416"/>
              <a:gd name="T51" fmla="*/ 184 h 1260"/>
              <a:gd name="T52" fmla="*/ 332 w 2416"/>
              <a:gd name="T53" fmla="*/ 76 h 1260"/>
              <a:gd name="T54" fmla="*/ 500 w 2416"/>
              <a:gd name="T55" fmla="*/ 14 h 1260"/>
              <a:gd name="T56" fmla="*/ 678 w 2416"/>
              <a:gd name="T57" fmla="*/ 2 h 1260"/>
              <a:gd name="T58" fmla="*/ 722 w 2416"/>
              <a:gd name="T59" fmla="*/ 6 h 1260"/>
              <a:gd name="T60" fmla="*/ 764 w 2416"/>
              <a:gd name="T61" fmla="*/ 192 h 1260"/>
              <a:gd name="T62" fmla="*/ 844 w 2416"/>
              <a:gd name="T63" fmla="*/ 366 h 1260"/>
              <a:gd name="T64" fmla="*/ 964 w 2416"/>
              <a:gd name="T65" fmla="*/ 520 h 1260"/>
              <a:gd name="T66" fmla="*/ 1120 w 2416"/>
              <a:gd name="T67" fmla="*/ 646 h 1260"/>
              <a:gd name="T68" fmla="*/ 1236 w 2416"/>
              <a:gd name="T69" fmla="*/ 708 h 1260"/>
              <a:gd name="T70" fmla="*/ 1398 w 2416"/>
              <a:gd name="T71" fmla="*/ 760 h 1260"/>
              <a:gd name="T72" fmla="*/ 1564 w 2416"/>
              <a:gd name="T73" fmla="*/ 780 h 1260"/>
              <a:gd name="T74" fmla="*/ 1728 w 2416"/>
              <a:gd name="T75" fmla="*/ 766 h 1260"/>
              <a:gd name="T76" fmla="*/ 1888 w 2416"/>
              <a:gd name="T77" fmla="*/ 722 h 1260"/>
              <a:gd name="T78" fmla="*/ 2036 w 2416"/>
              <a:gd name="T79" fmla="*/ 648 h 1260"/>
              <a:gd name="T80" fmla="*/ 2170 w 2416"/>
              <a:gd name="T81" fmla="*/ 546 h 1260"/>
              <a:gd name="T82" fmla="*/ 2284 w 2416"/>
              <a:gd name="T83" fmla="*/ 414 h 1260"/>
              <a:gd name="T84" fmla="*/ 2340 w 2416"/>
              <a:gd name="T85" fmla="*/ 322 h 1260"/>
              <a:gd name="T86" fmla="*/ 2412 w 2416"/>
              <a:gd name="T87" fmla="*/ 144 h 1260"/>
              <a:gd name="T88" fmla="*/ 2416 w 2416"/>
              <a:gd name="T89" fmla="*/ 248 h 1260"/>
              <a:gd name="T90" fmla="*/ 2402 w 2416"/>
              <a:gd name="T91" fmla="*/ 388 h 1260"/>
              <a:gd name="T92" fmla="*/ 2364 w 2416"/>
              <a:gd name="T93" fmla="*/ 526 h 1260"/>
              <a:gd name="T94" fmla="*/ 2302 w 2416"/>
              <a:gd name="T95" fmla="*/ 658 h 1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16" h="1260">
                <a:moveTo>
                  <a:pt x="2282" y="690"/>
                </a:moveTo>
                <a:lnTo>
                  <a:pt x="2282" y="690"/>
                </a:lnTo>
                <a:lnTo>
                  <a:pt x="2258" y="726"/>
                </a:lnTo>
                <a:lnTo>
                  <a:pt x="2234" y="758"/>
                </a:lnTo>
                <a:lnTo>
                  <a:pt x="2208" y="792"/>
                </a:lnTo>
                <a:lnTo>
                  <a:pt x="2180" y="822"/>
                </a:lnTo>
                <a:lnTo>
                  <a:pt x="2152" y="850"/>
                </a:lnTo>
                <a:lnTo>
                  <a:pt x="2122" y="878"/>
                </a:lnTo>
                <a:lnTo>
                  <a:pt x="2090" y="904"/>
                </a:lnTo>
                <a:lnTo>
                  <a:pt x="2058" y="928"/>
                </a:lnTo>
                <a:lnTo>
                  <a:pt x="2026" y="952"/>
                </a:lnTo>
                <a:lnTo>
                  <a:pt x="1992" y="972"/>
                </a:lnTo>
                <a:lnTo>
                  <a:pt x="1956" y="992"/>
                </a:lnTo>
                <a:lnTo>
                  <a:pt x="1920" y="1010"/>
                </a:lnTo>
                <a:lnTo>
                  <a:pt x="1884" y="1026"/>
                </a:lnTo>
                <a:lnTo>
                  <a:pt x="1848" y="1040"/>
                </a:lnTo>
                <a:lnTo>
                  <a:pt x="1810" y="1052"/>
                </a:lnTo>
                <a:lnTo>
                  <a:pt x="1772" y="1064"/>
                </a:lnTo>
                <a:lnTo>
                  <a:pt x="1734" y="1072"/>
                </a:lnTo>
                <a:lnTo>
                  <a:pt x="1696" y="1080"/>
                </a:lnTo>
                <a:lnTo>
                  <a:pt x="1656" y="1086"/>
                </a:lnTo>
                <a:lnTo>
                  <a:pt x="1616" y="1090"/>
                </a:lnTo>
                <a:lnTo>
                  <a:pt x="1576" y="1092"/>
                </a:lnTo>
                <a:lnTo>
                  <a:pt x="1538" y="1092"/>
                </a:lnTo>
                <a:lnTo>
                  <a:pt x="1498" y="1090"/>
                </a:lnTo>
                <a:lnTo>
                  <a:pt x="1458" y="1086"/>
                </a:lnTo>
                <a:lnTo>
                  <a:pt x="1418" y="1080"/>
                </a:lnTo>
                <a:lnTo>
                  <a:pt x="1378" y="1074"/>
                </a:lnTo>
                <a:lnTo>
                  <a:pt x="1340" y="1064"/>
                </a:lnTo>
                <a:lnTo>
                  <a:pt x="1300" y="1054"/>
                </a:lnTo>
                <a:lnTo>
                  <a:pt x="1262" y="1040"/>
                </a:lnTo>
                <a:lnTo>
                  <a:pt x="1224" y="1026"/>
                </a:lnTo>
                <a:lnTo>
                  <a:pt x="1186" y="1008"/>
                </a:lnTo>
                <a:lnTo>
                  <a:pt x="1148" y="990"/>
                </a:lnTo>
                <a:lnTo>
                  <a:pt x="1148" y="990"/>
                </a:lnTo>
                <a:lnTo>
                  <a:pt x="1130" y="1014"/>
                </a:lnTo>
                <a:lnTo>
                  <a:pt x="1110" y="1038"/>
                </a:lnTo>
                <a:lnTo>
                  <a:pt x="1090" y="1062"/>
                </a:lnTo>
                <a:lnTo>
                  <a:pt x="1068" y="1084"/>
                </a:lnTo>
                <a:lnTo>
                  <a:pt x="1046" y="1104"/>
                </a:lnTo>
                <a:lnTo>
                  <a:pt x="1022" y="1124"/>
                </a:lnTo>
                <a:lnTo>
                  <a:pt x="1000" y="1142"/>
                </a:lnTo>
                <a:lnTo>
                  <a:pt x="974" y="1158"/>
                </a:lnTo>
                <a:lnTo>
                  <a:pt x="950" y="1174"/>
                </a:lnTo>
                <a:lnTo>
                  <a:pt x="924" y="1188"/>
                </a:lnTo>
                <a:lnTo>
                  <a:pt x="896" y="1202"/>
                </a:lnTo>
                <a:lnTo>
                  <a:pt x="870" y="1214"/>
                </a:lnTo>
                <a:lnTo>
                  <a:pt x="842" y="1224"/>
                </a:lnTo>
                <a:lnTo>
                  <a:pt x="814" y="1234"/>
                </a:lnTo>
                <a:lnTo>
                  <a:pt x="786" y="1242"/>
                </a:lnTo>
                <a:lnTo>
                  <a:pt x="756" y="1248"/>
                </a:lnTo>
                <a:lnTo>
                  <a:pt x="728" y="1252"/>
                </a:lnTo>
                <a:lnTo>
                  <a:pt x="698" y="1256"/>
                </a:lnTo>
                <a:lnTo>
                  <a:pt x="670" y="1260"/>
                </a:lnTo>
                <a:lnTo>
                  <a:pt x="640" y="1260"/>
                </a:lnTo>
                <a:lnTo>
                  <a:pt x="610" y="1260"/>
                </a:lnTo>
                <a:lnTo>
                  <a:pt x="580" y="1258"/>
                </a:lnTo>
                <a:lnTo>
                  <a:pt x="552" y="1256"/>
                </a:lnTo>
                <a:lnTo>
                  <a:pt x="522" y="1252"/>
                </a:lnTo>
                <a:lnTo>
                  <a:pt x="492" y="1246"/>
                </a:lnTo>
                <a:lnTo>
                  <a:pt x="464" y="1238"/>
                </a:lnTo>
                <a:lnTo>
                  <a:pt x="434" y="1230"/>
                </a:lnTo>
                <a:lnTo>
                  <a:pt x="406" y="1218"/>
                </a:lnTo>
                <a:lnTo>
                  <a:pt x="376" y="1208"/>
                </a:lnTo>
                <a:lnTo>
                  <a:pt x="348" y="1194"/>
                </a:lnTo>
                <a:lnTo>
                  <a:pt x="322" y="1180"/>
                </a:lnTo>
                <a:lnTo>
                  <a:pt x="294" y="1164"/>
                </a:lnTo>
                <a:lnTo>
                  <a:pt x="294" y="1164"/>
                </a:lnTo>
                <a:lnTo>
                  <a:pt x="268" y="1146"/>
                </a:lnTo>
                <a:lnTo>
                  <a:pt x="242" y="1126"/>
                </a:lnTo>
                <a:lnTo>
                  <a:pt x="216" y="1106"/>
                </a:lnTo>
                <a:lnTo>
                  <a:pt x="194" y="1084"/>
                </a:lnTo>
                <a:lnTo>
                  <a:pt x="172" y="1062"/>
                </a:lnTo>
                <a:lnTo>
                  <a:pt x="150" y="1040"/>
                </a:lnTo>
                <a:lnTo>
                  <a:pt x="132" y="1016"/>
                </a:lnTo>
                <a:lnTo>
                  <a:pt x="114" y="990"/>
                </a:lnTo>
                <a:lnTo>
                  <a:pt x="96" y="964"/>
                </a:lnTo>
                <a:lnTo>
                  <a:pt x="80" y="938"/>
                </a:lnTo>
                <a:lnTo>
                  <a:pt x="66" y="912"/>
                </a:lnTo>
                <a:lnTo>
                  <a:pt x="54" y="884"/>
                </a:lnTo>
                <a:lnTo>
                  <a:pt x="42" y="856"/>
                </a:lnTo>
                <a:lnTo>
                  <a:pt x="32" y="828"/>
                </a:lnTo>
                <a:lnTo>
                  <a:pt x="24" y="798"/>
                </a:lnTo>
                <a:lnTo>
                  <a:pt x="16" y="770"/>
                </a:lnTo>
                <a:lnTo>
                  <a:pt x="10" y="740"/>
                </a:lnTo>
                <a:lnTo>
                  <a:pt x="6" y="710"/>
                </a:lnTo>
                <a:lnTo>
                  <a:pt x="2" y="680"/>
                </a:lnTo>
                <a:lnTo>
                  <a:pt x="0" y="650"/>
                </a:lnTo>
                <a:lnTo>
                  <a:pt x="0" y="618"/>
                </a:lnTo>
                <a:lnTo>
                  <a:pt x="2" y="588"/>
                </a:lnTo>
                <a:lnTo>
                  <a:pt x="4" y="558"/>
                </a:lnTo>
                <a:lnTo>
                  <a:pt x="8" y="528"/>
                </a:lnTo>
                <a:lnTo>
                  <a:pt x="14" y="498"/>
                </a:lnTo>
                <a:lnTo>
                  <a:pt x="22" y="468"/>
                </a:lnTo>
                <a:lnTo>
                  <a:pt x="30" y="438"/>
                </a:lnTo>
                <a:lnTo>
                  <a:pt x="40" y="408"/>
                </a:lnTo>
                <a:lnTo>
                  <a:pt x="52" y="378"/>
                </a:lnTo>
                <a:lnTo>
                  <a:pt x="66" y="350"/>
                </a:lnTo>
                <a:lnTo>
                  <a:pt x="82" y="322"/>
                </a:lnTo>
                <a:lnTo>
                  <a:pt x="98" y="294"/>
                </a:lnTo>
                <a:lnTo>
                  <a:pt x="98" y="294"/>
                </a:lnTo>
                <a:lnTo>
                  <a:pt x="124" y="254"/>
                </a:lnTo>
                <a:lnTo>
                  <a:pt x="154" y="218"/>
                </a:lnTo>
                <a:lnTo>
                  <a:pt x="186" y="184"/>
                </a:lnTo>
                <a:lnTo>
                  <a:pt x="220" y="152"/>
                </a:lnTo>
                <a:lnTo>
                  <a:pt x="256" y="124"/>
                </a:lnTo>
                <a:lnTo>
                  <a:pt x="292" y="98"/>
                </a:lnTo>
                <a:lnTo>
                  <a:pt x="332" y="76"/>
                </a:lnTo>
                <a:lnTo>
                  <a:pt x="372" y="56"/>
                </a:lnTo>
                <a:lnTo>
                  <a:pt x="414" y="38"/>
                </a:lnTo>
                <a:lnTo>
                  <a:pt x="456" y="24"/>
                </a:lnTo>
                <a:lnTo>
                  <a:pt x="500" y="14"/>
                </a:lnTo>
                <a:lnTo>
                  <a:pt x="544" y="6"/>
                </a:lnTo>
                <a:lnTo>
                  <a:pt x="588" y="2"/>
                </a:lnTo>
                <a:lnTo>
                  <a:pt x="632" y="0"/>
                </a:lnTo>
                <a:lnTo>
                  <a:pt x="678" y="2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30" y="54"/>
                </a:lnTo>
                <a:lnTo>
                  <a:pt x="738" y="100"/>
                </a:lnTo>
                <a:lnTo>
                  <a:pt x="750" y="146"/>
                </a:lnTo>
                <a:lnTo>
                  <a:pt x="764" y="192"/>
                </a:lnTo>
                <a:lnTo>
                  <a:pt x="780" y="238"/>
                </a:lnTo>
                <a:lnTo>
                  <a:pt x="798" y="282"/>
                </a:lnTo>
                <a:lnTo>
                  <a:pt x="820" y="324"/>
                </a:lnTo>
                <a:lnTo>
                  <a:pt x="844" y="366"/>
                </a:lnTo>
                <a:lnTo>
                  <a:pt x="870" y="406"/>
                </a:lnTo>
                <a:lnTo>
                  <a:pt x="898" y="446"/>
                </a:lnTo>
                <a:lnTo>
                  <a:pt x="930" y="484"/>
                </a:lnTo>
                <a:lnTo>
                  <a:pt x="964" y="520"/>
                </a:lnTo>
                <a:lnTo>
                  <a:pt x="1000" y="554"/>
                </a:lnTo>
                <a:lnTo>
                  <a:pt x="1038" y="588"/>
                </a:lnTo>
                <a:lnTo>
                  <a:pt x="1078" y="618"/>
                </a:lnTo>
                <a:lnTo>
                  <a:pt x="1120" y="646"/>
                </a:lnTo>
                <a:lnTo>
                  <a:pt x="1120" y="646"/>
                </a:lnTo>
                <a:lnTo>
                  <a:pt x="1158" y="670"/>
                </a:lnTo>
                <a:lnTo>
                  <a:pt x="1196" y="690"/>
                </a:lnTo>
                <a:lnTo>
                  <a:pt x="1236" y="708"/>
                </a:lnTo>
                <a:lnTo>
                  <a:pt x="1276" y="724"/>
                </a:lnTo>
                <a:lnTo>
                  <a:pt x="1316" y="738"/>
                </a:lnTo>
                <a:lnTo>
                  <a:pt x="1358" y="750"/>
                </a:lnTo>
                <a:lnTo>
                  <a:pt x="1398" y="760"/>
                </a:lnTo>
                <a:lnTo>
                  <a:pt x="1440" y="768"/>
                </a:lnTo>
                <a:lnTo>
                  <a:pt x="1480" y="774"/>
                </a:lnTo>
                <a:lnTo>
                  <a:pt x="1522" y="778"/>
                </a:lnTo>
                <a:lnTo>
                  <a:pt x="1564" y="780"/>
                </a:lnTo>
                <a:lnTo>
                  <a:pt x="1606" y="780"/>
                </a:lnTo>
                <a:lnTo>
                  <a:pt x="1646" y="776"/>
                </a:lnTo>
                <a:lnTo>
                  <a:pt x="1688" y="772"/>
                </a:lnTo>
                <a:lnTo>
                  <a:pt x="1728" y="766"/>
                </a:lnTo>
                <a:lnTo>
                  <a:pt x="1770" y="758"/>
                </a:lnTo>
                <a:lnTo>
                  <a:pt x="1810" y="748"/>
                </a:lnTo>
                <a:lnTo>
                  <a:pt x="1848" y="736"/>
                </a:lnTo>
                <a:lnTo>
                  <a:pt x="1888" y="722"/>
                </a:lnTo>
                <a:lnTo>
                  <a:pt x="1926" y="706"/>
                </a:lnTo>
                <a:lnTo>
                  <a:pt x="1964" y="690"/>
                </a:lnTo>
                <a:lnTo>
                  <a:pt x="2000" y="670"/>
                </a:lnTo>
                <a:lnTo>
                  <a:pt x="2036" y="648"/>
                </a:lnTo>
                <a:lnTo>
                  <a:pt x="2072" y="626"/>
                </a:lnTo>
                <a:lnTo>
                  <a:pt x="2106" y="600"/>
                </a:lnTo>
                <a:lnTo>
                  <a:pt x="2138" y="574"/>
                </a:lnTo>
                <a:lnTo>
                  <a:pt x="2170" y="546"/>
                </a:lnTo>
                <a:lnTo>
                  <a:pt x="2200" y="516"/>
                </a:lnTo>
                <a:lnTo>
                  <a:pt x="2230" y="484"/>
                </a:lnTo>
                <a:lnTo>
                  <a:pt x="2256" y="450"/>
                </a:lnTo>
                <a:lnTo>
                  <a:pt x="2284" y="414"/>
                </a:lnTo>
                <a:lnTo>
                  <a:pt x="2308" y="378"/>
                </a:lnTo>
                <a:lnTo>
                  <a:pt x="2308" y="378"/>
                </a:lnTo>
                <a:lnTo>
                  <a:pt x="2324" y="350"/>
                </a:lnTo>
                <a:lnTo>
                  <a:pt x="2340" y="322"/>
                </a:lnTo>
                <a:lnTo>
                  <a:pt x="2356" y="292"/>
                </a:lnTo>
                <a:lnTo>
                  <a:pt x="2368" y="262"/>
                </a:lnTo>
                <a:lnTo>
                  <a:pt x="2392" y="204"/>
                </a:lnTo>
                <a:lnTo>
                  <a:pt x="2412" y="144"/>
                </a:lnTo>
                <a:lnTo>
                  <a:pt x="2412" y="144"/>
                </a:lnTo>
                <a:lnTo>
                  <a:pt x="2414" y="178"/>
                </a:lnTo>
                <a:lnTo>
                  <a:pt x="2416" y="212"/>
                </a:lnTo>
                <a:lnTo>
                  <a:pt x="2416" y="248"/>
                </a:lnTo>
                <a:lnTo>
                  <a:pt x="2414" y="282"/>
                </a:lnTo>
                <a:lnTo>
                  <a:pt x="2412" y="318"/>
                </a:lnTo>
                <a:lnTo>
                  <a:pt x="2406" y="352"/>
                </a:lnTo>
                <a:lnTo>
                  <a:pt x="2402" y="388"/>
                </a:lnTo>
                <a:lnTo>
                  <a:pt x="2394" y="422"/>
                </a:lnTo>
                <a:lnTo>
                  <a:pt x="2386" y="456"/>
                </a:lnTo>
                <a:lnTo>
                  <a:pt x="2376" y="492"/>
                </a:lnTo>
                <a:lnTo>
                  <a:pt x="2364" y="526"/>
                </a:lnTo>
                <a:lnTo>
                  <a:pt x="2350" y="560"/>
                </a:lnTo>
                <a:lnTo>
                  <a:pt x="2336" y="592"/>
                </a:lnTo>
                <a:lnTo>
                  <a:pt x="2320" y="626"/>
                </a:lnTo>
                <a:lnTo>
                  <a:pt x="2302" y="658"/>
                </a:lnTo>
                <a:lnTo>
                  <a:pt x="2282" y="690"/>
                </a:lnTo>
                <a:lnTo>
                  <a:pt x="2282" y="69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7" name="Freeform 9">
            <a:extLst>
              <a:ext uri="{FF2B5EF4-FFF2-40B4-BE49-F238E27FC236}">
                <a16:creationId xmlns:a16="http://schemas.microsoft.com/office/drawing/2014/main" id="{FB7ADE54-A0C6-776B-757F-713E9C7A49B3}"/>
              </a:ext>
            </a:extLst>
          </p:cNvPr>
          <p:cNvSpPr>
            <a:spLocks/>
          </p:cNvSpPr>
          <p:nvPr/>
        </p:nvSpPr>
        <p:spPr bwMode="auto">
          <a:xfrm>
            <a:off x="4199719" y="1814878"/>
            <a:ext cx="2023404" cy="2665146"/>
          </a:xfrm>
          <a:custGeom>
            <a:avLst/>
            <a:gdLst>
              <a:gd name="T0" fmla="*/ 1050 w 1690"/>
              <a:gd name="T1" fmla="*/ 2184 h 2226"/>
              <a:gd name="T2" fmla="*/ 900 w 1690"/>
              <a:gd name="T3" fmla="*/ 2118 h 2226"/>
              <a:gd name="T4" fmla="*/ 768 w 1690"/>
              <a:gd name="T5" fmla="*/ 2026 h 2226"/>
              <a:gd name="T6" fmla="*/ 656 w 1690"/>
              <a:gd name="T7" fmla="*/ 1914 h 2226"/>
              <a:gd name="T8" fmla="*/ 566 w 1690"/>
              <a:gd name="T9" fmla="*/ 1784 h 2226"/>
              <a:gd name="T10" fmla="*/ 502 w 1690"/>
              <a:gd name="T11" fmla="*/ 1640 h 2226"/>
              <a:gd name="T12" fmla="*/ 466 w 1690"/>
              <a:gd name="T13" fmla="*/ 1484 h 2226"/>
              <a:gd name="T14" fmla="*/ 458 w 1690"/>
              <a:gd name="T15" fmla="*/ 1322 h 2226"/>
              <a:gd name="T16" fmla="*/ 436 w 1690"/>
              <a:gd name="T17" fmla="*/ 1230 h 2226"/>
              <a:gd name="T18" fmla="*/ 324 w 1690"/>
              <a:gd name="T19" fmla="*/ 1182 h 2226"/>
              <a:gd name="T20" fmla="*/ 226 w 1690"/>
              <a:gd name="T21" fmla="*/ 1114 h 2226"/>
              <a:gd name="T22" fmla="*/ 142 w 1690"/>
              <a:gd name="T23" fmla="*/ 1030 h 2226"/>
              <a:gd name="T24" fmla="*/ 76 w 1690"/>
              <a:gd name="T25" fmla="*/ 932 h 2226"/>
              <a:gd name="T26" fmla="*/ 30 w 1690"/>
              <a:gd name="T27" fmla="*/ 824 h 2226"/>
              <a:gd name="T28" fmla="*/ 4 w 1690"/>
              <a:gd name="T29" fmla="*/ 708 h 2226"/>
              <a:gd name="T30" fmla="*/ 0 w 1690"/>
              <a:gd name="T31" fmla="*/ 586 h 2226"/>
              <a:gd name="T32" fmla="*/ 14 w 1690"/>
              <a:gd name="T33" fmla="*/ 494 h 2226"/>
              <a:gd name="T34" fmla="*/ 54 w 1690"/>
              <a:gd name="T35" fmla="*/ 372 h 2226"/>
              <a:gd name="T36" fmla="*/ 116 w 1690"/>
              <a:gd name="T37" fmla="*/ 266 h 2226"/>
              <a:gd name="T38" fmla="*/ 196 w 1690"/>
              <a:gd name="T39" fmla="*/ 174 h 2226"/>
              <a:gd name="T40" fmla="*/ 290 w 1690"/>
              <a:gd name="T41" fmla="*/ 100 h 2226"/>
              <a:gd name="T42" fmla="*/ 398 w 1690"/>
              <a:gd name="T43" fmla="*/ 44 h 2226"/>
              <a:gd name="T44" fmla="*/ 516 w 1690"/>
              <a:gd name="T45" fmla="*/ 10 h 2226"/>
              <a:gd name="T46" fmla="*/ 640 w 1690"/>
              <a:gd name="T47" fmla="*/ 0 h 2226"/>
              <a:gd name="T48" fmla="*/ 766 w 1690"/>
              <a:gd name="T49" fmla="*/ 16 h 2226"/>
              <a:gd name="T50" fmla="*/ 900 w 1690"/>
              <a:gd name="T51" fmla="*/ 62 h 2226"/>
              <a:gd name="T52" fmla="*/ 1050 w 1690"/>
              <a:gd name="T53" fmla="*/ 162 h 2226"/>
              <a:gd name="T54" fmla="*/ 1164 w 1690"/>
              <a:gd name="T55" fmla="*/ 298 h 2226"/>
              <a:gd name="T56" fmla="*/ 1236 w 1690"/>
              <a:gd name="T57" fmla="*/ 462 h 2226"/>
              <a:gd name="T58" fmla="*/ 1248 w 1690"/>
              <a:gd name="T59" fmla="*/ 506 h 2226"/>
              <a:gd name="T60" fmla="*/ 1086 w 1690"/>
              <a:gd name="T61" fmla="*/ 608 h 2226"/>
              <a:gd name="T62" fmla="*/ 950 w 1690"/>
              <a:gd name="T63" fmla="*/ 742 h 2226"/>
              <a:gd name="T64" fmla="*/ 846 w 1690"/>
              <a:gd name="T65" fmla="*/ 906 h 2226"/>
              <a:gd name="T66" fmla="*/ 780 w 1690"/>
              <a:gd name="T67" fmla="*/ 1096 h 2226"/>
              <a:gd name="T68" fmla="*/ 760 w 1690"/>
              <a:gd name="T69" fmla="*/ 1226 h 2226"/>
              <a:gd name="T70" fmla="*/ 766 w 1690"/>
              <a:gd name="T71" fmla="*/ 1396 h 2226"/>
              <a:gd name="T72" fmla="*/ 804 w 1690"/>
              <a:gd name="T73" fmla="*/ 1560 h 2226"/>
              <a:gd name="T74" fmla="*/ 872 w 1690"/>
              <a:gd name="T75" fmla="*/ 1710 h 2226"/>
              <a:gd name="T76" fmla="*/ 968 w 1690"/>
              <a:gd name="T77" fmla="*/ 1846 h 2226"/>
              <a:gd name="T78" fmla="*/ 1088 w 1690"/>
              <a:gd name="T79" fmla="*/ 1960 h 2226"/>
              <a:gd name="T80" fmla="*/ 1230 w 1690"/>
              <a:gd name="T81" fmla="*/ 2050 h 2226"/>
              <a:gd name="T82" fmla="*/ 1390 w 1690"/>
              <a:gd name="T83" fmla="*/ 2114 h 2226"/>
              <a:gd name="T84" fmla="*/ 1498 w 1690"/>
              <a:gd name="T85" fmla="*/ 2136 h 2226"/>
              <a:gd name="T86" fmla="*/ 1690 w 1690"/>
              <a:gd name="T87" fmla="*/ 2142 h 2226"/>
              <a:gd name="T88" fmla="*/ 1592 w 1690"/>
              <a:gd name="T89" fmla="*/ 2182 h 2226"/>
              <a:gd name="T90" fmla="*/ 1456 w 1690"/>
              <a:gd name="T91" fmla="*/ 2214 h 2226"/>
              <a:gd name="T92" fmla="*/ 1314 w 1690"/>
              <a:gd name="T93" fmla="*/ 2226 h 2226"/>
              <a:gd name="T94" fmla="*/ 1168 w 1690"/>
              <a:gd name="T95" fmla="*/ 2212 h 2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90" h="2226">
                <a:moveTo>
                  <a:pt x="1132" y="2206"/>
                </a:moveTo>
                <a:lnTo>
                  <a:pt x="1132" y="2206"/>
                </a:lnTo>
                <a:lnTo>
                  <a:pt x="1090" y="2196"/>
                </a:lnTo>
                <a:lnTo>
                  <a:pt x="1050" y="2184"/>
                </a:lnTo>
                <a:lnTo>
                  <a:pt x="1010" y="2170"/>
                </a:lnTo>
                <a:lnTo>
                  <a:pt x="972" y="2154"/>
                </a:lnTo>
                <a:lnTo>
                  <a:pt x="936" y="2136"/>
                </a:lnTo>
                <a:lnTo>
                  <a:pt x="900" y="2118"/>
                </a:lnTo>
                <a:lnTo>
                  <a:pt x="864" y="2098"/>
                </a:lnTo>
                <a:lnTo>
                  <a:pt x="830" y="2076"/>
                </a:lnTo>
                <a:lnTo>
                  <a:pt x="798" y="2052"/>
                </a:lnTo>
                <a:lnTo>
                  <a:pt x="768" y="2026"/>
                </a:lnTo>
                <a:lnTo>
                  <a:pt x="738" y="2000"/>
                </a:lnTo>
                <a:lnTo>
                  <a:pt x="708" y="1974"/>
                </a:lnTo>
                <a:lnTo>
                  <a:pt x="682" y="1944"/>
                </a:lnTo>
                <a:lnTo>
                  <a:pt x="656" y="1914"/>
                </a:lnTo>
                <a:lnTo>
                  <a:pt x="630" y="1884"/>
                </a:lnTo>
                <a:lnTo>
                  <a:pt x="608" y="1852"/>
                </a:lnTo>
                <a:lnTo>
                  <a:pt x="586" y="1818"/>
                </a:lnTo>
                <a:lnTo>
                  <a:pt x="566" y="1784"/>
                </a:lnTo>
                <a:lnTo>
                  <a:pt x="548" y="1750"/>
                </a:lnTo>
                <a:lnTo>
                  <a:pt x="530" y="1714"/>
                </a:lnTo>
                <a:lnTo>
                  <a:pt x="516" y="1676"/>
                </a:lnTo>
                <a:lnTo>
                  <a:pt x="502" y="1640"/>
                </a:lnTo>
                <a:lnTo>
                  <a:pt x="490" y="1602"/>
                </a:lnTo>
                <a:lnTo>
                  <a:pt x="480" y="1564"/>
                </a:lnTo>
                <a:lnTo>
                  <a:pt x="472" y="1524"/>
                </a:lnTo>
                <a:lnTo>
                  <a:pt x="466" y="1484"/>
                </a:lnTo>
                <a:lnTo>
                  <a:pt x="460" y="1444"/>
                </a:lnTo>
                <a:lnTo>
                  <a:pt x="458" y="1404"/>
                </a:lnTo>
                <a:lnTo>
                  <a:pt x="456" y="1362"/>
                </a:lnTo>
                <a:lnTo>
                  <a:pt x="458" y="1322"/>
                </a:lnTo>
                <a:lnTo>
                  <a:pt x="462" y="1280"/>
                </a:lnTo>
                <a:lnTo>
                  <a:pt x="466" y="1240"/>
                </a:lnTo>
                <a:lnTo>
                  <a:pt x="466" y="1240"/>
                </a:lnTo>
                <a:lnTo>
                  <a:pt x="436" y="1230"/>
                </a:lnTo>
                <a:lnTo>
                  <a:pt x="406" y="1220"/>
                </a:lnTo>
                <a:lnTo>
                  <a:pt x="378" y="1208"/>
                </a:lnTo>
                <a:lnTo>
                  <a:pt x="350" y="1196"/>
                </a:lnTo>
                <a:lnTo>
                  <a:pt x="324" y="1182"/>
                </a:lnTo>
                <a:lnTo>
                  <a:pt x="298" y="1166"/>
                </a:lnTo>
                <a:lnTo>
                  <a:pt x="272" y="1150"/>
                </a:lnTo>
                <a:lnTo>
                  <a:pt x="248" y="1132"/>
                </a:lnTo>
                <a:lnTo>
                  <a:pt x="226" y="1114"/>
                </a:lnTo>
                <a:lnTo>
                  <a:pt x="202" y="1094"/>
                </a:lnTo>
                <a:lnTo>
                  <a:pt x="182" y="1074"/>
                </a:lnTo>
                <a:lnTo>
                  <a:pt x="162" y="1052"/>
                </a:lnTo>
                <a:lnTo>
                  <a:pt x="142" y="1030"/>
                </a:lnTo>
                <a:lnTo>
                  <a:pt x="124" y="1006"/>
                </a:lnTo>
                <a:lnTo>
                  <a:pt x="106" y="982"/>
                </a:lnTo>
                <a:lnTo>
                  <a:pt x="92" y="958"/>
                </a:lnTo>
                <a:lnTo>
                  <a:pt x="76" y="932"/>
                </a:lnTo>
                <a:lnTo>
                  <a:pt x="62" y="906"/>
                </a:lnTo>
                <a:lnTo>
                  <a:pt x="50" y="880"/>
                </a:lnTo>
                <a:lnTo>
                  <a:pt x="40" y="852"/>
                </a:lnTo>
                <a:lnTo>
                  <a:pt x="30" y="824"/>
                </a:lnTo>
                <a:lnTo>
                  <a:pt x="22" y="796"/>
                </a:lnTo>
                <a:lnTo>
                  <a:pt x="14" y="768"/>
                </a:lnTo>
                <a:lnTo>
                  <a:pt x="8" y="738"/>
                </a:lnTo>
                <a:lnTo>
                  <a:pt x="4" y="708"/>
                </a:lnTo>
                <a:lnTo>
                  <a:pt x="0" y="678"/>
                </a:lnTo>
                <a:lnTo>
                  <a:pt x="0" y="648"/>
                </a:lnTo>
                <a:lnTo>
                  <a:pt x="0" y="618"/>
                </a:lnTo>
                <a:lnTo>
                  <a:pt x="0" y="586"/>
                </a:lnTo>
                <a:lnTo>
                  <a:pt x="4" y="556"/>
                </a:lnTo>
                <a:lnTo>
                  <a:pt x="8" y="526"/>
                </a:lnTo>
                <a:lnTo>
                  <a:pt x="14" y="494"/>
                </a:lnTo>
                <a:lnTo>
                  <a:pt x="14" y="494"/>
                </a:lnTo>
                <a:lnTo>
                  <a:pt x="22" y="462"/>
                </a:lnTo>
                <a:lnTo>
                  <a:pt x="32" y="432"/>
                </a:lnTo>
                <a:lnTo>
                  <a:pt x="42" y="402"/>
                </a:lnTo>
                <a:lnTo>
                  <a:pt x="54" y="372"/>
                </a:lnTo>
                <a:lnTo>
                  <a:pt x="68" y="344"/>
                </a:lnTo>
                <a:lnTo>
                  <a:pt x="82" y="318"/>
                </a:lnTo>
                <a:lnTo>
                  <a:pt x="98" y="290"/>
                </a:lnTo>
                <a:lnTo>
                  <a:pt x="116" y="266"/>
                </a:lnTo>
                <a:lnTo>
                  <a:pt x="134" y="240"/>
                </a:lnTo>
                <a:lnTo>
                  <a:pt x="154" y="218"/>
                </a:lnTo>
                <a:lnTo>
                  <a:pt x="174" y="194"/>
                </a:lnTo>
                <a:lnTo>
                  <a:pt x="196" y="174"/>
                </a:lnTo>
                <a:lnTo>
                  <a:pt x="218" y="154"/>
                </a:lnTo>
                <a:lnTo>
                  <a:pt x="242" y="134"/>
                </a:lnTo>
                <a:lnTo>
                  <a:pt x="266" y="116"/>
                </a:lnTo>
                <a:lnTo>
                  <a:pt x="290" y="100"/>
                </a:lnTo>
                <a:lnTo>
                  <a:pt x="316" y="84"/>
                </a:lnTo>
                <a:lnTo>
                  <a:pt x="344" y="70"/>
                </a:lnTo>
                <a:lnTo>
                  <a:pt x="370" y="56"/>
                </a:lnTo>
                <a:lnTo>
                  <a:pt x="398" y="44"/>
                </a:lnTo>
                <a:lnTo>
                  <a:pt x="428" y="34"/>
                </a:lnTo>
                <a:lnTo>
                  <a:pt x="456" y="24"/>
                </a:lnTo>
                <a:lnTo>
                  <a:pt x="486" y="16"/>
                </a:lnTo>
                <a:lnTo>
                  <a:pt x="516" y="10"/>
                </a:lnTo>
                <a:lnTo>
                  <a:pt x="546" y="6"/>
                </a:lnTo>
                <a:lnTo>
                  <a:pt x="576" y="2"/>
                </a:lnTo>
                <a:lnTo>
                  <a:pt x="608" y="0"/>
                </a:lnTo>
                <a:lnTo>
                  <a:pt x="640" y="0"/>
                </a:lnTo>
                <a:lnTo>
                  <a:pt x="670" y="2"/>
                </a:lnTo>
                <a:lnTo>
                  <a:pt x="702" y="4"/>
                </a:lnTo>
                <a:lnTo>
                  <a:pt x="734" y="10"/>
                </a:lnTo>
                <a:lnTo>
                  <a:pt x="766" y="16"/>
                </a:lnTo>
                <a:lnTo>
                  <a:pt x="766" y="16"/>
                </a:lnTo>
                <a:lnTo>
                  <a:pt x="812" y="28"/>
                </a:lnTo>
                <a:lnTo>
                  <a:pt x="856" y="42"/>
                </a:lnTo>
                <a:lnTo>
                  <a:pt x="900" y="62"/>
                </a:lnTo>
                <a:lnTo>
                  <a:pt x="940" y="82"/>
                </a:lnTo>
                <a:lnTo>
                  <a:pt x="980" y="106"/>
                </a:lnTo>
                <a:lnTo>
                  <a:pt x="1016" y="132"/>
                </a:lnTo>
                <a:lnTo>
                  <a:pt x="1050" y="162"/>
                </a:lnTo>
                <a:lnTo>
                  <a:pt x="1082" y="192"/>
                </a:lnTo>
                <a:lnTo>
                  <a:pt x="1112" y="226"/>
                </a:lnTo>
                <a:lnTo>
                  <a:pt x="1140" y="262"/>
                </a:lnTo>
                <a:lnTo>
                  <a:pt x="1164" y="298"/>
                </a:lnTo>
                <a:lnTo>
                  <a:pt x="1188" y="338"/>
                </a:lnTo>
                <a:lnTo>
                  <a:pt x="1206" y="378"/>
                </a:lnTo>
                <a:lnTo>
                  <a:pt x="1224" y="420"/>
                </a:lnTo>
                <a:lnTo>
                  <a:pt x="1236" y="462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06" y="528"/>
                </a:lnTo>
                <a:lnTo>
                  <a:pt x="1164" y="552"/>
                </a:lnTo>
                <a:lnTo>
                  <a:pt x="1124" y="578"/>
                </a:lnTo>
                <a:lnTo>
                  <a:pt x="1086" y="608"/>
                </a:lnTo>
                <a:lnTo>
                  <a:pt x="1050" y="638"/>
                </a:lnTo>
                <a:lnTo>
                  <a:pt x="1014" y="670"/>
                </a:lnTo>
                <a:lnTo>
                  <a:pt x="982" y="706"/>
                </a:lnTo>
                <a:lnTo>
                  <a:pt x="950" y="742"/>
                </a:lnTo>
                <a:lnTo>
                  <a:pt x="920" y="780"/>
                </a:lnTo>
                <a:lnTo>
                  <a:pt x="894" y="820"/>
                </a:lnTo>
                <a:lnTo>
                  <a:pt x="868" y="862"/>
                </a:lnTo>
                <a:lnTo>
                  <a:pt x="846" y="906"/>
                </a:lnTo>
                <a:lnTo>
                  <a:pt x="826" y="952"/>
                </a:lnTo>
                <a:lnTo>
                  <a:pt x="808" y="998"/>
                </a:lnTo>
                <a:lnTo>
                  <a:pt x="792" y="1046"/>
                </a:lnTo>
                <a:lnTo>
                  <a:pt x="780" y="1096"/>
                </a:lnTo>
                <a:lnTo>
                  <a:pt x="780" y="1096"/>
                </a:lnTo>
                <a:lnTo>
                  <a:pt x="770" y="1140"/>
                </a:lnTo>
                <a:lnTo>
                  <a:pt x="764" y="1184"/>
                </a:lnTo>
                <a:lnTo>
                  <a:pt x="760" y="1226"/>
                </a:lnTo>
                <a:lnTo>
                  <a:pt x="758" y="1270"/>
                </a:lnTo>
                <a:lnTo>
                  <a:pt x="760" y="1312"/>
                </a:lnTo>
                <a:lnTo>
                  <a:pt x="762" y="1354"/>
                </a:lnTo>
                <a:lnTo>
                  <a:pt x="766" y="1396"/>
                </a:lnTo>
                <a:lnTo>
                  <a:pt x="772" y="1438"/>
                </a:lnTo>
                <a:lnTo>
                  <a:pt x="782" y="1480"/>
                </a:lnTo>
                <a:lnTo>
                  <a:pt x="792" y="1520"/>
                </a:lnTo>
                <a:lnTo>
                  <a:pt x="804" y="1560"/>
                </a:lnTo>
                <a:lnTo>
                  <a:pt x="818" y="1598"/>
                </a:lnTo>
                <a:lnTo>
                  <a:pt x="834" y="1636"/>
                </a:lnTo>
                <a:lnTo>
                  <a:pt x="852" y="1674"/>
                </a:lnTo>
                <a:lnTo>
                  <a:pt x="872" y="1710"/>
                </a:lnTo>
                <a:lnTo>
                  <a:pt x="894" y="1746"/>
                </a:lnTo>
                <a:lnTo>
                  <a:pt x="916" y="1780"/>
                </a:lnTo>
                <a:lnTo>
                  <a:pt x="942" y="1814"/>
                </a:lnTo>
                <a:lnTo>
                  <a:pt x="968" y="1846"/>
                </a:lnTo>
                <a:lnTo>
                  <a:pt x="996" y="1876"/>
                </a:lnTo>
                <a:lnTo>
                  <a:pt x="1024" y="1906"/>
                </a:lnTo>
                <a:lnTo>
                  <a:pt x="1056" y="1934"/>
                </a:lnTo>
                <a:lnTo>
                  <a:pt x="1088" y="1960"/>
                </a:lnTo>
                <a:lnTo>
                  <a:pt x="1120" y="1986"/>
                </a:lnTo>
                <a:lnTo>
                  <a:pt x="1156" y="2008"/>
                </a:lnTo>
                <a:lnTo>
                  <a:pt x="1192" y="2030"/>
                </a:lnTo>
                <a:lnTo>
                  <a:pt x="1230" y="2050"/>
                </a:lnTo>
                <a:lnTo>
                  <a:pt x="1268" y="2070"/>
                </a:lnTo>
                <a:lnTo>
                  <a:pt x="1308" y="2086"/>
                </a:lnTo>
                <a:lnTo>
                  <a:pt x="1348" y="2100"/>
                </a:lnTo>
                <a:lnTo>
                  <a:pt x="1390" y="2114"/>
                </a:lnTo>
                <a:lnTo>
                  <a:pt x="1434" y="2124"/>
                </a:lnTo>
                <a:lnTo>
                  <a:pt x="1434" y="2124"/>
                </a:lnTo>
                <a:lnTo>
                  <a:pt x="1466" y="2130"/>
                </a:lnTo>
                <a:lnTo>
                  <a:pt x="1498" y="2136"/>
                </a:lnTo>
                <a:lnTo>
                  <a:pt x="1530" y="2140"/>
                </a:lnTo>
                <a:lnTo>
                  <a:pt x="1562" y="2142"/>
                </a:lnTo>
                <a:lnTo>
                  <a:pt x="1626" y="2144"/>
                </a:lnTo>
                <a:lnTo>
                  <a:pt x="1690" y="2142"/>
                </a:lnTo>
                <a:lnTo>
                  <a:pt x="1690" y="2142"/>
                </a:lnTo>
                <a:lnTo>
                  <a:pt x="1658" y="2156"/>
                </a:lnTo>
                <a:lnTo>
                  <a:pt x="1626" y="2170"/>
                </a:lnTo>
                <a:lnTo>
                  <a:pt x="1592" y="2182"/>
                </a:lnTo>
                <a:lnTo>
                  <a:pt x="1560" y="2192"/>
                </a:lnTo>
                <a:lnTo>
                  <a:pt x="1526" y="2200"/>
                </a:lnTo>
                <a:lnTo>
                  <a:pt x="1490" y="2208"/>
                </a:lnTo>
                <a:lnTo>
                  <a:pt x="1456" y="2214"/>
                </a:lnTo>
                <a:lnTo>
                  <a:pt x="1422" y="2220"/>
                </a:lnTo>
                <a:lnTo>
                  <a:pt x="1386" y="2224"/>
                </a:lnTo>
                <a:lnTo>
                  <a:pt x="1350" y="2226"/>
                </a:lnTo>
                <a:lnTo>
                  <a:pt x="1314" y="2226"/>
                </a:lnTo>
                <a:lnTo>
                  <a:pt x="1278" y="2226"/>
                </a:lnTo>
                <a:lnTo>
                  <a:pt x="1242" y="2222"/>
                </a:lnTo>
                <a:lnTo>
                  <a:pt x="1204" y="2218"/>
                </a:lnTo>
                <a:lnTo>
                  <a:pt x="1168" y="2212"/>
                </a:lnTo>
                <a:lnTo>
                  <a:pt x="1132" y="2206"/>
                </a:lnTo>
                <a:lnTo>
                  <a:pt x="1132" y="220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8" name="1 Título">
            <a:extLst>
              <a:ext uri="{FF2B5EF4-FFF2-40B4-BE49-F238E27FC236}">
                <a16:creationId xmlns:a16="http://schemas.microsoft.com/office/drawing/2014/main" id="{403C2B2C-8D23-546E-FC91-BB6912E92A7C}"/>
              </a:ext>
            </a:extLst>
          </p:cNvPr>
          <p:cNvSpPr txBox="1">
            <a:spLocks/>
          </p:cNvSpPr>
          <p:nvPr/>
        </p:nvSpPr>
        <p:spPr>
          <a:xfrm>
            <a:off x="4281540" y="2191389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marL="0" marR="0" lvl="0" indent="0" algn="ctr" defTabSz="102393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ea typeface="+mj-ea"/>
                <a:cs typeface="+mj-cs"/>
              </a:rPr>
              <a:t>Enter Text Her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ea typeface="+mj-ea"/>
              <a:cs typeface="+mj-cs"/>
            </a:endParaRPr>
          </a:p>
        </p:txBody>
      </p:sp>
      <p:sp>
        <p:nvSpPr>
          <p:cNvPr id="29" name="1 Título">
            <a:extLst>
              <a:ext uri="{FF2B5EF4-FFF2-40B4-BE49-F238E27FC236}">
                <a16:creationId xmlns:a16="http://schemas.microsoft.com/office/drawing/2014/main" id="{31DBA5D1-A9B5-51E6-4F10-085238854DE5}"/>
              </a:ext>
            </a:extLst>
          </p:cNvPr>
          <p:cNvSpPr txBox="1">
            <a:spLocks/>
          </p:cNvSpPr>
          <p:nvPr/>
        </p:nvSpPr>
        <p:spPr>
          <a:xfrm>
            <a:off x="6300749" y="2031479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+mj-ea"/>
                <a:cs typeface="+mj-cs"/>
              </a:rPr>
              <a:t>Enter Text Here</a:t>
            </a:r>
          </a:p>
        </p:txBody>
      </p:sp>
      <p:sp>
        <p:nvSpPr>
          <p:cNvPr id="30" name="1 Título">
            <a:extLst>
              <a:ext uri="{FF2B5EF4-FFF2-40B4-BE49-F238E27FC236}">
                <a16:creationId xmlns:a16="http://schemas.microsoft.com/office/drawing/2014/main" id="{2B7A7388-31B4-362D-E227-7CFDFF9FE902}"/>
              </a:ext>
            </a:extLst>
          </p:cNvPr>
          <p:cNvSpPr txBox="1">
            <a:spLocks/>
          </p:cNvSpPr>
          <p:nvPr/>
        </p:nvSpPr>
        <p:spPr>
          <a:xfrm>
            <a:off x="7092348" y="3940965"/>
            <a:ext cx="1090726" cy="594539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1" name="1 Título">
            <a:extLst>
              <a:ext uri="{FF2B5EF4-FFF2-40B4-BE49-F238E27FC236}">
                <a16:creationId xmlns:a16="http://schemas.microsoft.com/office/drawing/2014/main" id="{4B4A3FC6-0D50-15BE-955B-0E704F2E4EFE}"/>
              </a:ext>
            </a:extLst>
          </p:cNvPr>
          <p:cNvSpPr txBox="1">
            <a:spLocks/>
          </p:cNvSpPr>
          <p:nvPr/>
        </p:nvSpPr>
        <p:spPr>
          <a:xfrm>
            <a:off x="5432422" y="5281708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2" name="1 Título">
            <a:extLst>
              <a:ext uri="{FF2B5EF4-FFF2-40B4-BE49-F238E27FC236}">
                <a16:creationId xmlns:a16="http://schemas.microsoft.com/office/drawing/2014/main" id="{AEFBFDE8-857A-A3CE-B386-AC203AB1587E}"/>
              </a:ext>
            </a:extLst>
          </p:cNvPr>
          <p:cNvSpPr txBox="1">
            <a:spLocks/>
          </p:cNvSpPr>
          <p:nvPr/>
        </p:nvSpPr>
        <p:spPr>
          <a:xfrm>
            <a:off x="3933371" y="4241115"/>
            <a:ext cx="1137243" cy="547866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4" name="1 Título">
            <a:extLst>
              <a:ext uri="{FF2B5EF4-FFF2-40B4-BE49-F238E27FC236}">
                <a16:creationId xmlns:a16="http://schemas.microsoft.com/office/drawing/2014/main" id="{4A023445-F977-82A6-847B-16D2EC11ECD1}"/>
              </a:ext>
            </a:extLst>
          </p:cNvPr>
          <p:cNvSpPr txBox="1">
            <a:spLocks/>
          </p:cNvSpPr>
          <p:nvPr/>
        </p:nvSpPr>
        <p:spPr>
          <a:xfrm>
            <a:off x="5364917" y="3314016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ctr">
            <a:noAutofit/>
          </a:bodyPr>
          <a:lstStyle/>
          <a:p>
            <a:pPr marL="0" marR="0" lvl="0" indent="0" algn="ctr" defTabSz="102393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>
                <a:solidFill>
                  <a:schemeClr val="bg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rPr>
              <a:t>TEX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ea typeface="+mj-ea"/>
              <a:cs typeface="+mj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622EC92-9C84-F168-F814-1E123F8CECFE}"/>
              </a:ext>
            </a:extLst>
          </p:cNvPr>
          <p:cNvSpPr txBox="1"/>
          <p:nvPr/>
        </p:nvSpPr>
        <p:spPr>
          <a:xfrm>
            <a:off x="8653608" y="1762120"/>
            <a:ext cx="229818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6BC17DA-251A-4D47-D777-C2950E1F3536}"/>
              </a:ext>
            </a:extLst>
          </p:cNvPr>
          <p:cNvSpPr txBox="1"/>
          <p:nvPr/>
        </p:nvSpPr>
        <p:spPr>
          <a:xfrm>
            <a:off x="9067265" y="3429000"/>
            <a:ext cx="229818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3517C2F-45DD-FFCA-010A-B5DDBA1E8A2F}"/>
              </a:ext>
            </a:extLst>
          </p:cNvPr>
          <p:cNvSpPr txBox="1"/>
          <p:nvPr/>
        </p:nvSpPr>
        <p:spPr>
          <a:xfrm>
            <a:off x="7613902" y="5595521"/>
            <a:ext cx="229818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E292119-C41B-8CF4-7030-FA46DF4DD459}"/>
              </a:ext>
            </a:extLst>
          </p:cNvPr>
          <p:cNvSpPr txBox="1"/>
          <p:nvPr/>
        </p:nvSpPr>
        <p:spPr>
          <a:xfrm>
            <a:off x="845193" y="4676100"/>
            <a:ext cx="229818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D073BA5-B212-3503-8DCA-69A19044E5F9}"/>
              </a:ext>
            </a:extLst>
          </p:cNvPr>
          <p:cNvSpPr txBox="1"/>
          <p:nvPr/>
        </p:nvSpPr>
        <p:spPr>
          <a:xfrm>
            <a:off x="809561" y="2747421"/>
            <a:ext cx="229818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654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CD975A8-BEFE-F306-1203-B3C1AE68F141}"/>
              </a:ext>
            </a:extLst>
          </p:cNvPr>
          <p:cNvSpPr>
            <a:spLocks/>
          </p:cNvSpPr>
          <p:nvPr/>
        </p:nvSpPr>
        <p:spPr bwMode="auto">
          <a:xfrm>
            <a:off x="2306319" y="1677231"/>
            <a:ext cx="2464003" cy="2384983"/>
          </a:xfrm>
          <a:custGeom>
            <a:avLst/>
            <a:gdLst>
              <a:gd name="T0" fmla="*/ 1684 w 2058"/>
              <a:gd name="T1" fmla="*/ 1208 h 1992"/>
              <a:gd name="T2" fmla="*/ 1550 w 2058"/>
              <a:gd name="T3" fmla="*/ 1072 h 1992"/>
              <a:gd name="T4" fmla="*/ 1388 w 2058"/>
              <a:gd name="T5" fmla="*/ 968 h 1992"/>
              <a:gd name="T6" fmla="*/ 1206 w 2058"/>
              <a:gd name="T7" fmla="*/ 900 h 1992"/>
              <a:gd name="T8" fmla="*/ 1006 w 2058"/>
              <a:gd name="T9" fmla="*/ 878 h 1992"/>
              <a:gd name="T10" fmla="*/ 874 w 2058"/>
              <a:gd name="T11" fmla="*/ 888 h 1992"/>
              <a:gd name="T12" fmla="*/ 710 w 2058"/>
              <a:gd name="T13" fmla="*/ 930 h 1992"/>
              <a:gd name="T14" fmla="*/ 560 w 2058"/>
              <a:gd name="T15" fmla="*/ 1002 h 1992"/>
              <a:gd name="T16" fmla="*/ 426 w 2058"/>
              <a:gd name="T17" fmla="*/ 1102 h 1992"/>
              <a:gd name="T18" fmla="*/ 316 w 2058"/>
              <a:gd name="T19" fmla="*/ 1224 h 1992"/>
              <a:gd name="T20" fmla="*/ 230 w 2058"/>
              <a:gd name="T21" fmla="*/ 1366 h 1992"/>
              <a:gd name="T22" fmla="*/ 172 w 2058"/>
              <a:gd name="T23" fmla="*/ 1524 h 1992"/>
              <a:gd name="T24" fmla="*/ 146 w 2058"/>
              <a:gd name="T25" fmla="*/ 1694 h 1992"/>
              <a:gd name="T26" fmla="*/ 146 w 2058"/>
              <a:gd name="T27" fmla="*/ 1804 h 1992"/>
              <a:gd name="T28" fmla="*/ 182 w 2058"/>
              <a:gd name="T29" fmla="*/ 1992 h 1992"/>
              <a:gd name="T30" fmla="*/ 124 w 2058"/>
              <a:gd name="T31" fmla="*/ 1906 h 1992"/>
              <a:gd name="T32" fmla="*/ 60 w 2058"/>
              <a:gd name="T33" fmla="*/ 1780 h 1992"/>
              <a:gd name="T34" fmla="*/ 18 w 2058"/>
              <a:gd name="T35" fmla="*/ 1644 h 1992"/>
              <a:gd name="T36" fmla="*/ 0 w 2058"/>
              <a:gd name="T37" fmla="*/ 1498 h 1992"/>
              <a:gd name="T38" fmla="*/ 4 w 2058"/>
              <a:gd name="T39" fmla="*/ 1378 h 1992"/>
              <a:gd name="T40" fmla="*/ 34 w 2058"/>
              <a:gd name="T41" fmla="*/ 1216 h 1992"/>
              <a:gd name="T42" fmla="*/ 94 w 2058"/>
              <a:gd name="T43" fmla="*/ 1068 h 1992"/>
              <a:gd name="T44" fmla="*/ 180 w 2058"/>
              <a:gd name="T45" fmla="*/ 934 h 1992"/>
              <a:gd name="T46" fmla="*/ 288 w 2058"/>
              <a:gd name="T47" fmla="*/ 818 h 1992"/>
              <a:gd name="T48" fmla="*/ 416 w 2058"/>
              <a:gd name="T49" fmla="*/ 724 h 1992"/>
              <a:gd name="T50" fmla="*/ 558 w 2058"/>
              <a:gd name="T51" fmla="*/ 654 h 1992"/>
              <a:gd name="T52" fmla="*/ 716 w 2058"/>
              <a:gd name="T53" fmla="*/ 612 h 1992"/>
              <a:gd name="T54" fmla="*/ 800 w 2058"/>
              <a:gd name="T55" fmla="*/ 572 h 1992"/>
              <a:gd name="T56" fmla="*/ 824 w 2058"/>
              <a:gd name="T57" fmla="*/ 452 h 1992"/>
              <a:gd name="T58" fmla="*/ 868 w 2058"/>
              <a:gd name="T59" fmla="*/ 340 h 1992"/>
              <a:gd name="T60" fmla="*/ 932 w 2058"/>
              <a:gd name="T61" fmla="*/ 242 h 1992"/>
              <a:gd name="T62" fmla="*/ 1014 w 2058"/>
              <a:gd name="T63" fmla="*/ 156 h 1992"/>
              <a:gd name="T64" fmla="*/ 1108 w 2058"/>
              <a:gd name="T65" fmla="*/ 86 h 1992"/>
              <a:gd name="T66" fmla="*/ 1216 w 2058"/>
              <a:gd name="T67" fmla="*/ 36 h 1992"/>
              <a:gd name="T68" fmla="*/ 1334 w 2058"/>
              <a:gd name="T69" fmla="*/ 6 h 1992"/>
              <a:gd name="T70" fmla="*/ 1428 w 2058"/>
              <a:gd name="T71" fmla="*/ 0 h 1992"/>
              <a:gd name="T72" fmla="*/ 1554 w 2058"/>
              <a:gd name="T73" fmla="*/ 12 h 1992"/>
              <a:gd name="T74" fmla="*/ 1674 w 2058"/>
              <a:gd name="T75" fmla="*/ 50 h 1992"/>
              <a:gd name="T76" fmla="*/ 1780 w 2058"/>
              <a:gd name="T77" fmla="*/ 108 h 1992"/>
              <a:gd name="T78" fmla="*/ 1874 w 2058"/>
              <a:gd name="T79" fmla="*/ 184 h 1992"/>
              <a:gd name="T80" fmla="*/ 1950 w 2058"/>
              <a:gd name="T81" fmla="*/ 278 h 1992"/>
              <a:gd name="T82" fmla="*/ 2008 w 2058"/>
              <a:gd name="T83" fmla="*/ 384 h 1992"/>
              <a:gd name="T84" fmla="*/ 2046 w 2058"/>
              <a:gd name="T85" fmla="*/ 504 h 1992"/>
              <a:gd name="T86" fmla="*/ 2058 w 2058"/>
              <a:gd name="T87" fmla="*/ 630 h 1992"/>
              <a:gd name="T88" fmla="*/ 2042 w 2058"/>
              <a:gd name="T89" fmla="*/ 770 h 1992"/>
              <a:gd name="T90" fmla="*/ 1976 w 2058"/>
              <a:gd name="T91" fmla="*/ 940 h 1992"/>
              <a:gd name="T92" fmla="*/ 1868 w 2058"/>
              <a:gd name="T93" fmla="*/ 1082 h 1992"/>
              <a:gd name="T94" fmla="*/ 1724 w 2058"/>
              <a:gd name="T95" fmla="*/ 1186 h 1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58" h="1992">
                <a:moveTo>
                  <a:pt x="1684" y="1206"/>
                </a:moveTo>
                <a:lnTo>
                  <a:pt x="1684" y="1206"/>
                </a:lnTo>
                <a:lnTo>
                  <a:pt x="1684" y="1208"/>
                </a:lnTo>
                <a:lnTo>
                  <a:pt x="1684" y="1208"/>
                </a:lnTo>
                <a:lnTo>
                  <a:pt x="1652" y="1170"/>
                </a:lnTo>
                <a:lnTo>
                  <a:pt x="1620" y="1136"/>
                </a:lnTo>
                <a:lnTo>
                  <a:pt x="1586" y="1102"/>
                </a:lnTo>
                <a:lnTo>
                  <a:pt x="1550" y="1072"/>
                </a:lnTo>
                <a:lnTo>
                  <a:pt x="1512" y="1042"/>
                </a:lnTo>
                <a:lnTo>
                  <a:pt x="1472" y="1014"/>
                </a:lnTo>
                <a:lnTo>
                  <a:pt x="1432" y="990"/>
                </a:lnTo>
                <a:lnTo>
                  <a:pt x="1388" y="968"/>
                </a:lnTo>
                <a:lnTo>
                  <a:pt x="1344" y="946"/>
                </a:lnTo>
                <a:lnTo>
                  <a:pt x="1300" y="930"/>
                </a:lnTo>
                <a:lnTo>
                  <a:pt x="1252" y="914"/>
                </a:lnTo>
                <a:lnTo>
                  <a:pt x="1206" y="900"/>
                </a:lnTo>
                <a:lnTo>
                  <a:pt x="1156" y="890"/>
                </a:lnTo>
                <a:lnTo>
                  <a:pt x="1108" y="884"/>
                </a:lnTo>
                <a:lnTo>
                  <a:pt x="1056" y="880"/>
                </a:lnTo>
                <a:lnTo>
                  <a:pt x="1006" y="878"/>
                </a:lnTo>
                <a:lnTo>
                  <a:pt x="1006" y="878"/>
                </a:lnTo>
                <a:lnTo>
                  <a:pt x="962" y="878"/>
                </a:lnTo>
                <a:lnTo>
                  <a:pt x="918" y="882"/>
                </a:lnTo>
                <a:lnTo>
                  <a:pt x="874" y="888"/>
                </a:lnTo>
                <a:lnTo>
                  <a:pt x="832" y="896"/>
                </a:lnTo>
                <a:lnTo>
                  <a:pt x="790" y="904"/>
                </a:lnTo>
                <a:lnTo>
                  <a:pt x="750" y="916"/>
                </a:lnTo>
                <a:lnTo>
                  <a:pt x="710" y="930"/>
                </a:lnTo>
                <a:lnTo>
                  <a:pt x="670" y="946"/>
                </a:lnTo>
                <a:lnTo>
                  <a:pt x="632" y="962"/>
                </a:lnTo>
                <a:lnTo>
                  <a:pt x="596" y="982"/>
                </a:lnTo>
                <a:lnTo>
                  <a:pt x="560" y="1002"/>
                </a:lnTo>
                <a:lnTo>
                  <a:pt x="524" y="1024"/>
                </a:lnTo>
                <a:lnTo>
                  <a:pt x="490" y="1048"/>
                </a:lnTo>
                <a:lnTo>
                  <a:pt x="458" y="1074"/>
                </a:lnTo>
                <a:lnTo>
                  <a:pt x="426" y="1102"/>
                </a:lnTo>
                <a:lnTo>
                  <a:pt x="396" y="1130"/>
                </a:lnTo>
                <a:lnTo>
                  <a:pt x="368" y="1160"/>
                </a:lnTo>
                <a:lnTo>
                  <a:pt x="342" y="1190"/>
                </a:lnTo>
                <a:lnTo>
                  <a:pt x="316" y="1224"/>
                </a:lnTo>
                <a:lnTo>
                  <a:pt x="292" y="1258"/>
                </a:lnTo>
                <a:lnTo>
                  <a:pt x="270" y="1292"/>
                </a:lnTo>
                <a:lnTo>
                  <a:pt x="248" y="1328"/>
                </a:lnTo>
                <a:lnTo>
                  <a:pt x="230" y="1366"/>
                </a:lnTo>
                <a:lnTo>
                  <a:pt x="212" y="1404"/>
                </a:lnTo>
                <a:lnTo>
                  <a:pt x="196" y="1442"/>
                </a:lnTo>
                <a:lnTo>
                  <a:pt x="184" y="1482"/>
                </a:lnTo>
                <a:lnTo>
                  <a:pt x="172" y="1524"/>
                </a:lnTo>
                <a:lnTo>
                  <a:pt x="162" y="1566"/>
                </a:lnTo>
                <a:lnTo>
                  <a:pt x="154" y="1608"/>
                </a:lnTo>
                <a:lnTo>
                  <a:pt x="148" y="1650"/>
                </a:lnTo>
                <a:lnTo>
                  <a:pt x="146" y="1694"/>
                </a:lnTo>
                <a:lnTo>
                  <a:pt x="144" y="1738"/>
                </a:lnTo>
                <a:lnTo>
                  <a:pt x="144" y="1738"/>
                </a:lnTo>
                <a:lnTo>
                  <a:pt x="146" y="1772"/>
                </a:lnTo>
                <a:lnTo>
                  <a:pt x="146" y="1804"/>
                </a:lnTo>
                <a:lnTo>
                  <a:pt x="150" y="1836"/>
                </a:lnTo>
                <a:lnTo>
                  <a:pt x="154" y="1868"/>
                </a:lnTo>
                <a:lnTo>
                  <a:pt x="166" y="1932"/>
                </a:lnTo>
                <a:lnTo>
                  <a:pt x="182" y="1992"/>
                </a:lnTo>
                <a:lnTo>
                  <a:pt x="182" y="1992"/>
                </a:lnTo>
                <a:lnTo>
                  <a:pt x="162" y="1964"/>
                </a:lnTo>
                <a:lnTo>
                  <a:pt x="142" y="1936"/>
                </a:lnTo>
                <a:lnTo>
                  <a:pt x="124" y="1906"/>
                </a:lnTo>
                <a:lnTo>
                  <a:pt x="106" y="1876"/>
                </a:lnTo>
                <a:lnTo>
                  <a:pt x="90" y="1844"/>
                </a:lnTo>
                <a:lnTo>
                  <a:pt x="74" y="1814"/>
                </a:lnTo>
                <a:lnTo>
                  <a:pt x="60" y="1780"/>
                </a:lnTo>
                <a:lnTo>
                  <a:pt x="48" y="1748"/>
                </a:lnTo>
                <a:lnTo>
                  <a:pt x="36" y="1714"/>
                </a:lnTo>
                <a:lnTo>
                  <a:pt x="28" y="1680"/>
                </a:lnTo>
                <a:lnTo>
                  <a:pt x="18" y="1644"/>
                </a:lnTo>
                <a:lnTo>
                  <a:pt x="12" y="1608"/>
                </a:lnTo>
                <a:lnTo>
                  <a:pt x="6" y="1572"/>
                </a:lnTo>
                <a:lnTo>
                  <a:pt x="2" y="1536"/>
                </a:lnTo>
                <a:lnTo>
                  <a:pt x="0" y="1498"/>
                </a:lnTo>
                <a:lnTo>
                  <a:pt x="0" y="1462"/>
                </a:lnTo>
                <a:lnTo>
                  <a:pt x="0" y="1462"/>
                </a:lnTo>
                <a:lnTo>
                  <a:pt x="0" y="1420"/>
                </a:lnTo>
                <a:lnTo>
                  <a:pt x="4" y="1378"/>
                </a:lnTo>
                <a:lnTo>
                  <a:pt x="8" y="1336"/>
                </a:lnTo>
                <a:lnTo>
                  <a:pt x="16" y="1296"/>
                </a:lnTo>
                <a:lnTo>
                  <a:pt x="24" y="1256"/>
                </a:lnTo>
                <a:lnTo>
                  <a:pt x="34" y="1216"/>
                </a:lnTo>
                <a:lnTo>
                  <a:pt x="48" y="1178"/>
                </a:lnTo>
                <a:lnTo>
                  <a:pt x="62" y="1140"/>
                </a:lnTo>
                <a:lnTo>
                  <a:pt x="78" y="1104"/>
                </a:lnTo>
                <a:lnTo>
                  <a:pt x="94" y="1068"/>
                </a:lnTo>
                <a:lnTo>
                  <a:pt x="114" y="1032"/>
                </a:lnTo>
                <a:lnTo>
                  <a:pt x="134" y="998"/>
                </a:lnTo>
                <a:lnTo>
                  <a:pt x="156" y="966"/>
                </a:lnTo>
                <a:lnTo>
                  <a:pt x="180" y="934"/>
                </a:lnTo>
                <a:lnTo>
                  <a:pt x="206" y="902"/>
                </a:lnTo>
                <a:lnTo>
                  <a:pt x="232" y="874"/>
                </a:lnTo>
                <a:lnTo>
                  <a:pt x="260" y="846"/>
                </a:lnTo>
                <a:lnTo>
                  <a:pt x="288" y="818"/>
                </a:lnTo>
                <a:lnTo>
                  <a:pt x="318" y="792"/>
                </a:lnTo>
                <a:lnTo>
                  <a:pt x="350" y="768"/>
                </a:lnTo>
                <a:lnTo>
                  <a:pt x="382" y="746"/>
                </a:lnTo>
                <a:lnTo>
                  <a:pt x="416" y="724"/>
                </a:lnTo>
                <a:lnTo>
                  <a:pt x="450" y="704"/>
                </a:lnTo>
                <a:lnTo>
                  <a:pt x="486" y="686"/>
                </a:lnTo>
                <a:lnTo>
                  <a:pt x="522" y="670"/>
                </a:lnTo>
                <a:lnTo>
                  <a:pt x="558" y="654"/>
                </a:lnTo>
                <a:lnTo>
                  <a:pt x="596" y="642"/>
                </a:lnTo>
                <a:lnTo>
                  <a:pt x="636" y="630"/>
                </a:lnTo>
                <a:lnTo>
                  <a:pt x="676" y="620"/>
                </a:lnTo>
                <a:lnTo>
                  <a:pt x="716" y="612"/>
                </a:lnTo>
                <a:lnTo>
                  <a:pt x="756" y="606"/>
                </a:lnTo>
                <a:lnTo>
                  <a:pt x="798" y="602"/>
                </a:lnTo>
                <a:lnTo>
                  <a:pt x="798" y="602"/>
                </a:lnTo>
                <a:lnTo>
                  <a:pt x="800" y="572"/>
                </a:lnTo>
                <a:lnTo>
                  <a:pt x="804" y="540"/>
                </a:lnTo>
                <a:lnTo>
                  <a:pt x="810" y="510"/>
                </a:lnTo>
                <a:lnTo>
                  <a:pt x="816" y="480"/>
                </a:lnTo>
                <a:lnTo>
                  <a:pt x="824" y="452"/>
                </a:lnTo>
                <a:lnTo>
                  <a:pt x="832" y="422"/>
                </a:lnTo>
                <a:lnTo>
                  <a:pt x="844" y="394"/>
                </a:lnTo>
                <a:lnTo>
                  <a:pt x="856" y="368"/>
                </a:lnTo>
                <a:lnTo>
                  <a:pt x="868" y="340"/>
                </a:lnTo>
                <a:lnTo>
                  <a:pt x="882" y="314"/>
                </a:lnTo>
                <a:lnTo>
                  <a:pt x="898" y="290"/>
                </a:lnTo>
                <a:lnTo>
                  <a:pt x="914" y="264"/>
                </a:lnTo>
                <a:lnTo>
                  <a:pt x="932" y="242"/>
                </a:lnTo>
                <a:lnTo>
                  <a:pt x="952" y="218"/>
                </a:lnTo>
                <a:lnTo>
                  <a:pt x="970" y="196"/>
                </a:lnTo>
                <a:lnTo>
                  <a:pt x="992" y="176"/>
                </a:lnTo>
                <a:lnTo>
                  <a:pt x="1014" y="156"/>
                </a:lnTo>
                <a:lnTo>
                  <a:pt x="1036" y="136"/>
                </a:lnTo>
                <a:lnTo>
                  <a:pt x="1060" y="120"/>
                </a:lnTo>
                <a:lnTo>
                  <a:pt x="1084" y="102"/>
                </a:lnTo>
                <a:lnTo>
                  <a:pt x="1108" y="86"/>
                </a:lnTo>
                <a:lnTo>
                  <a:pt x="1134" y="72"/>
                </a:lnTo>
                <a:lnTo>
                  <a:pt x="1162" y="60"/>
                </a:lnTo>
                <a:lnTo>
                  <a:pt x="1188" y="48"/>
                </a:lnTo>
                <a:lnTo>
                  <a:pt x="1216" y="36"/>
                </a:lnTo>
                <a:lnTo>
                  <a:pt x="1246" y="26"/>
                </a:lnTo>
                <a:lnTo>
                  <a:pt x="1274" y="18"/>
                </a:lnTo>
                <a:lnTo>
                  <a:pt x="1304" y="12"/>
                </a:lnTo>
                <a:lnTo>
                  <a:pt x="1334" y="6"/>
                </a:lnTo>
                <a:lnTo>
                  <a:pt x="1366" y="4"/>
                </a:lnTo>
                <a:lnTo>
                  <a:pt x="1396" y="0"/>
                </a:lnTo>
                <a:lnTo>
                  <a:pt x="1428" y="0"/>
                </a:lnTo>
                <a:lnTo>
                  <a:pt x="1428" y="0"/>
                </a:lnTo>
                <a:lnTo>
                  <a:pt x="1460" y="0"/>
                </a:lnTo>
                <a:lnTo>
                  <a:pt x="1492" y="4"/>
                </a:lnTo>
                <a:lnTo>
                  <a:pt x="1524" y="8"/>
                </a:lnTo>
                <a:lnTo>
                  <a:pt x="1554" y="12"/>
                </a:lnTo>
                <a:lnTo>
                  <a:pt x="1586" y="20"/>
                </a:lnTo>
                <a:lnTo>
                  <a:pt x="1616" y="28"/>
                </a:lnTo>
                <a:lnTo>
                  <a:pt x="1644" y="38"/>
                </a:lnTo>
                <a:lnTo>
                  <a:pt x="1674" y="50"/>
                </a:lnTo>
                <a:lnTo>
                  <a:pt x="1702" y="62"/>
                </a:lnTo>
                <a:lnTo>
                  <a:pt x="1728" y="76"/>
                </a:lnTo>
                <a:lnTo>
                  <a:pt x="1754" y="92"/>
                </a:lnTo>
                <a:lnTo>
                  <a:pt x="1780" y="108"/>
                </a:lnTo>
                <a:lnTo>
                  <a:pt x="1804" y="126"/>
                </a:lnTo>
                <a:lnTo>
                  <a:pt x="1828" y="144"/>
                </a:lnTo>
                <a:lnTo>
                  <a:pt x="1852" y="164"/>
                </a:lnTo>
                <a:lnTo>
                  <a:pt x="1874" y="184"/>
                </a:lnTo>
                <a:lnTo>
                  <a:pt x="1894" y="206"/>
                </a:lnTo>
                <a:lnTo>
                  <a:pt x="1914" y="230"/>
                </a:lnTo>
                <a:lnTo>
                  <a:pt x="1932" y="254"/>
                </a:lnTo>
                <a:lnTo>
                  <a:pt x="1950" y="278"/>
                </a:lnTo>
                <a:lnTo>
                  <a:pt x="1966" y="304"/>
                </a:lnTo>
                <a:lnTo>
                  <a:pt x="1982" y="330"/>
                </a:lnTo>
                <a:lnTo>
                  <a:pt x="1996" y="356"/>
                </a:lnTo>
                <a:lnTo>
                  <a:pt x="2008" y="384"/>
                </a:lnTo>
                <a:lnTo>
                  <a:pt x="2020" y="414"/>
                </a:lnTo>
                <a:lnTo>
                  <a:pt x="2030" y="442"/>
                </a:lnTo>
                <a:lnTo>
                  <a:pt x="2038" y="472"/>
                </a:lnTo>
                <a:lnTo>
                  <a:pt x="2046" y="504"/>
                </a:lnTo>
                <a:lnTo>
                  <a:pt x="2050" y="534"/>
                </a:lnTo>
                <a:lnTo>
                  <a:pt x="2054" y="566"/>
                </a:lnTo>
                <a:lnTo>
                  <a:pt x="2058" y="598"/>
                </a:lnTo>
                <a:lnTo>
                  <a:pt x="2058" y="630"/>
                </a:lnTo>
                <a:lnTo>
                  <a:pt x="2058" y="630"/>
                </a:lnTo>
                <a:lnTo>
                  <a:pt x="2056" y="678"/>
                </a:lnTo>
                <a:lnTo>
                  <a:pt x="2050" y="724"/>
                </a:lnTo>
                <a:lnTo>
                  <a:pt x="2042" y="770"/>
                </a:lnTo>
                <a:lnTo>
                  <a:pt x="2030" y="814"/>
                </a:lnTo>
                <a:lnTo>
                  <a:pt x="2016" y="858"/>
                </a:lnTo>
                <a:lnTo>
                  <a:pt x="1998" y="900"/>
                </a:lnTo>
                <a:lnTo>
                  <a:pt x="1976" y="940"/>
                </a:lnTo>
                <a:lnTo>
                  <a:pt x="1954" y="978"/>
                </a:lnTo>
                <a:lnTo>
                  <a:pt x="1928" y="1014"/>
                </a:lnTo>
                <a:lnTo>
                  <a:pt x="1898" y="1048"/>
                </a:lnTo>
                <a:lnTo>
                  <a:pt x="1868" y="1082"/>
                </a:lnTo>
                <a:lnTo>
                  <a:pt x="1834" y="1112"/>
                </a:lnTo>
                <a:lnTo>
                  <a:pt x="1800" y="1138"/>
                </a:lnTo>
                <a:lnTo>
                  <a:pt x="1762" y="1164"/>
                </a:lnTo>
                <a:lnTo>
                  <a:pt x="1724" y="1186"/>
                </a:lnTo>
                <a:lnTo>
                  <a:pt x="1684" y="1206"/>
                </a:lnTo>
                <a:lnTo>
                  <a:pt x="1684" y="120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0DFE906C-5B1E-4829-BB33-D92B0FE9AA7F}"/>
              </a:ext>
            </a:extLst>
          </p:cNvPr>
          <p:cNvSpPr>
            <a:spLocks/>
          </p:cNvSpPr>
          <p:nvPr/>
        </p:nvSpPr>
        <p:spPr bwMode="auto">
          <a:xfrm>
            <a:off x="2651037" y="2808363"/>
            <a:ext cx="2765718" cy="2126370"/>
          </a:xfrm>
          <a:custGeom>
            <a:avLst/>
            <a:gdLst>
              <a:gd name="T0" fmla="*/ 1782 w 2310"/>
              <a:gd name="T1" fmla="*/ 1766 h 1776"/>
              <a:gd name="T2" fmla="*/ 1600 w 2310"/>
              <a:gd name="T3" fmla="*/ 1770 h 1776"/>
              <a:gd name="T4" fmla="*/ 1428 w 2310"/>
              <a:gd name="T5" fmla="*/ 1722 h 1776"/>
              <a:gd name="T6" fmla="*/ 1276 w 2310"/>
              <a:gd name="T7" fmla="*/ 1628 h 1776"/>
              <a:gd name="T8" fmla="*/ 1210 w 2310"/>
              <a:gd name="T9" fmla="*/ 1566 h 1776"/>
              <a:gd name="T10" fmla="*/ 1280 w 2310"/>
              <a:gd name="T11" fmla="*/ 1442 h 1776"/>
              <a:gd name="T12" fmla="*/ 1338 w 2310"/>
              <a:gd name="T13" fmla="*/ 1260 h 1776"/>
              <a:gd name="T14" fmla="*/ 1356 w 2310"/>
              <a:gd name="T15" fmla="*/ 1066 h 1776"/>
              <a:gd name="T16" fmla="*/ 1328 w 2310"/>
              <a:gd name="T17" fmla="*/ 868 h 1776"/>
              <a:gd name="T18" fmla="*/ 1282 w 2310"/>
              <a:gd name="T19" fmla="*/ 738 h 1776"/>
              <a:gd name="T20" fmla="*/ 1198 w 2310"/>
              <a:gd name="T21" fmla="*/ 588 h 1776"/>
              <a:gd name="T22" fmla="*/ 1088 w 2310"/>
              <a:gd name="T23" fmla="*/ 462 h 1776"/>
              <a:gd name="T24" fmla="*/ 958 w 2310"/>
              <a:gd name="T25" fmla="*/ 360 h 1776"/>
              <a:gd name="T26" fmla="*/ 812 w 2310"/>
              <a:gd name="T27" fmla="*/ 284 h 1776"/>
              <a:gd name="T28" fmla="*/ 652 w 2310"/>
              <a:gd name="T29" fmla="*/ 238 h 1776"/>
              <a:gd name="T30" fmla="*/ 484 w 2310"/>
              <a:gd name="T31" fmla="*/ 224 h 1776"/>
              <a:gd name="T32" fmla="*/ 314 w 2310"/>
              <a:gd name="T33" fmla="*/ 244 h 1776"/>
              <a:gd name="T34" fmla="*/ 198 w 2310"/>
              <a:gd name="T35" fmla="*/ 278 h 1776"/>
              <a:gd name="T36" fmla="*/ 52 w 2310"/>
              <a:gd name="T37" fmla="*/ 346 h 1776"/>
              <a:gd name="T38" fmla="*/ 40 w 2310"/>
              <a:gd name="T39" fmla="*/ 324 h 1776"/>
              <a:gd name="T40" fmla="*/ 136 w 2310"/>
              <a:gd name="T41" fmla="*/ 222 h 1776"/>
              <a:gd name="T42" fmla="*/ 250 w 2310"/>
              <a:gd name="T43" fmla="*/ 136 h 1776"/>
              <a:gd name="T44" fmla="*/ 378 w 2310"/>
              <a:gd name="T45" fmla="*/ 68 h 1776"/>
              <a:gd name="T46" fmla="*/ 488 w 2310"/>
              <a:gd name="T47" fmla="*/ 30 h 1776"/>
              <a:gd name="T48" fmla="*/ 652 w 2310"/>
              <a:gd name="T49" fmla="*/ 2 h 1776"/>
              <a:gd name="T50" fmla="*/ 814 w 2310"/>
              <a:gd name="T51" fmla="*/ 6 h 1776"/>
              <a:gd name="T52" fmla="*/ 968 w 2310"/>
              <a:gd name="T53" fmla="*/ 40 h 1776"/>
              <a:gd name="T54" fmla="*/ 1114 w 2310"/>
              <a:gd name="T55" fmla="*/ 100 h 1776"/>
              <a:gd name="T56" fmla="*/ 1248 w 2310"/>
              <a:gd name="T57" fmla="*/ 186 h 1776"/>
              <a:gd name="T58" fmla="*/ 1362 w 2310"/>
              <a:gd name="T59" fmla="*/ 296 h 1776"/>
              <a:gd name="T60" fmla="*/ 1458 w 2310"/>
              <a:gd name="T61" fmla="*/ 426 h 1776"/>
              <a:gd name="T62" fmla="*/ 1512 w 2310"/>
              <a:gd name="T63" fmla="*/ 538 h 1776"/>
              <a:gd name="T64" fmla="*/ 1634 w 2310"/>
              <a:gd name="T65" fmla="*/ 516 h 1776"/>
              <a:gd name="T66" fmla="*/ 1754 w 2310"/>
              <a:gd name="T67" fmla="*/ 520 h 1776"/>
              <a:gd name="T68" fmla="*/ 1870 w 2310"/>
              <a:gd name="T69" fmla="*/ 544 h 1776"/>
              <a:gd name="T70" fmla="*/ 1978 w 2310"/>
              <a:gd name="T71" fmla="*/ 590 h 1776"/>
              <a:gd name="T72" fmla="*/ 2076 w 2310"/>
              <a:gd name="T73" fmla="*/ 654 h 1776"/>
              <a:gd name="T74" fmla="*/ 2160 w 2310"/>
              <a:gd name="T75" fmla="*/ 738 h 1776"/>
              <a:gd name="T76" fmla="*/ 2230 w 2310"/>
              <a:gd name="T77" fmla="*/ 836 h 1776"/>
              <a:gd name="T78" fmla="*/ 2280 w 2310"/>
              <a:gd name="T79" fmla="*/ 950 h 1776"/>
              <a:gd name="T80" fmla="*/ 2302 w 2310"/>
              <a:gd name="T81" fmla="*/ 1044 h 1776"/>
              <a:gd name="T82" fmla="*/ 2310 w 2310"/>
              <a:gd name="T83" fmla="*/ 1168 h 1776"/>
              <a:gd name="T84" fmla="*/ 2294 w 2310"/>
              <a:gd name="T85" fmla="*/ 1290 h 1776"/>
              <a:gd name="T86" fmla="*/ 2254 w 2310"/>
              <a:gd name="T87" fmla="*/ 1404 h 1776"/>
              <a:gd name="T88" fmla="*/ 2194 w 2310"/>
              <a:gd name="T89" fmla="*/ 1508 h 1776"/>
              <a:gd name="T90" fmla="*/ 2116 w 2310"/>
              <a:gd name="T91" fmla="*/ 1600 h 1776"/>
              <a:gd name="T92" fmla="*/ 2018 w 2310"/>
              <a:gd name="T93" fmla="*/ 1676 h 1776"/>
              <a:gd name="T94" fmla="*/ 1906 w 2310"/>
              <a:gd name="T95" fmla="*/ 1734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310" h="1776">
                <a:moveTo>
                  <a:pt x="1874" y="1744"/>
                </a:moveTo>
                <a:lnTo>
                  <a:pt x="1874" y="1744"/>
                </a:lnTo>
                <a:lnTo>
                  <a:pt x="1828" y="1758"/>
                </a:lnTo>
                <a:lnTo>
                  <a:pt x="1782" y="1766"/>
                </a:lnTo>
                <a:lnTo>
                  <a:pt x="1736" y="1772"/>
                </a:lnTo>
                <a:lnTo>
                  <a:pt x="1690" y="1776"/>
                </a:lnTo>
                <a:lnTo>
                  <a:pt x="1644" y="1774"/>
                </a:lnTo>
                <a:lnTo>
                  <a:pt x="1600" y="1770"/>
                </a:lnTo>
                <a:lnTo>
                  <a:pt x="1556" y="1762"/>
                </a:lnTo>
                <a:lnTo>
                  <a:pt x="1512" y="1752"/>
                </a:lnTo>
                <a:lnTo>
                  <a:pt x="1468" y="1738"/>
                </a:lnTo>
                <a:lnTo>
                  <a:pt x="1428" y="1722"/>
                </a:lnTo>
                <a:lnTo>
                  <a:pt x="1388" y="1702"/>
                </a:lnTo>
                <a:lnTo>
                  <a:pt x="1348" y="1680"/>
                </a:lnTo>
                <a:lnTo>
                  <a:pt x="1312" y="1656"/>
                </a:lnTo>
                <a:lnTo>
                  <a:pt x="1276" y="1628"/>
                </a:lnTo>
                <a:lnTo>
                  <a:pt x="1242" y="1598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10" y="1566"/>
                </a:lnTo>
                <a:lnTo>
                  <a:pt x="1236" y="1526"/>
                </a:lnTo>
                <a:lnTo>
                  <a:pt x="1258" y="1484"/>
                </a:lnTo>
                <a:lnTo>
                  <a:pt x="1280" y="1442"/>
                </a:lnTo>
                <a:lnTo>
                  <a:pt x="1298" y="1396"/>
                </a:lnTo>
                <a:lnTo>
                  <a:pt x="1314" y="1352"/>
                </a:lnTo>
                <a:lnTo>
                  <a:pt x="1328" y="1306"/>
                </a:lnTo>
                <a:lnTo>
                  <a:pt x="1338" y="1260"/>
                </a:lnTo>
                <a:lnTo>
                  <a:pt x="1348" y="1212"/>
                </a:lnTo>
                <a:lnTo>
                  <a:pt x="1354" y="1164"/>
                </a:lnTo>
                <a:lnTo>
                  <a:pt x="1356" y="1116"/>
                </a:lnTo>
                <a:lnTo>
                  <a:pt x="1356" y="1066"/>
                </a:lnTo>
                <a:lnTo>
                  <a:pt x="1354" y="1016"/>
                </a:lnTo>
                <a:lnTo>
                  <a:pt x="1348" y="968"/>
                </a:lnTo>
                <a:lnTo>
                  <a:pt x="1340" y="918"/>
                </a:lnTo>
                <a:lnTo>
                  <a:pt x="1328" y="868"/>
                </a:lnTo>
                <a:lnTo>
                  <a:pt x="1314" y="820"/>
                </a:lnTo>
                <a:lnTo>
                  <a:pt x="1314" y="820"/>
                </a:lnTo>
                <a:lnTo>
                  <a:pt x="1300" y="778"/>
                </a:lnTo>
                <a:lnTo>
                  <a:pt x="1282" y="738"/>
                </a:lnTo>
                <a:lnTo>
                  <a:pt x="1264" y="698"/>
                </a:lnTo>
                <a:lnTo>
                  <a:pt x="1244" y="660"/>
                </a:lnTo>
                <a:lnTo>
                  <a:pt x="1222" y="624"/>
                </a:lnTo>
                <a:lnTo>
                  <a:pt x="1198" y="588"/>
                </a:lnTo>
                <a:lnTo>
                  <a:pt x="1174" y="554"/>
                </a:lnTo>
                <a:lnTo>
                  <a:pt x="1146" y="522"/>
                </a:lnTo>
                <a:lnTo>
                  <a:pt x="1118" y="490"/>
                </a:lnTo>
                <a:lnTo>
                  <a:pt x="1088" y="462"/>
                </a:lnTo>
                <a:lnTo>
                  <a:pt x="1058" y="434"/>
                </a:lnTo>
                <a:lnTo>
                  <a:pt x="1026" y="408"/>
                </a:lnTo>
                <a:lnTo>
                  <a:pt x="992" y="382"/>
                </a:lnTo>
                <a:lnTo>
                  <a:pt x="958" y="360"/>
                </a:lnTo>
                <a:lnTo>
                  <a:pt x="922" y="338"/>
                </a:lnTo>
                <a:lnTo>
                  <a:pt x="886" y="318"/>
                </a:lnTo>
                <a:lnTo>
                  <a:pt x="850" y="300"/>
                </a:lnTo>
                <a:lnTo>
                  <a:pt x="812" y="284"/>
                </a:lnTo>
                <a:lnTo>
                  <a:pt x="772" y="270"/>
                </a:lnTo>
                <a:lnTo>
                  <a:pt x="732" y="258"/>
                </a:lnTo>
                <a:lnTo>
                  <a:pt x="692" y="248"/>
                </a:lnTo>
                <a:lnTo>
                  <a:pt x="652" y="238"/>
                </a:lnTo>
                <a:lnTo>
                  <a:pt x="610" y="232"/>
                </a:lnTo>
                <a:lnTo>
                  <a:pt x="570" y="228"/>
                </a:lnTo>
                <a:lnTo>
                  <a:pt x="528" y="224"/>
                </a:lnTo>
                <a:lnTo>
                  <a:pt x="484" y="224"/>
                </a:lnTo>
                <a:lnTo>
                  <a:pt x="442" y="226"/>
                </a:lnTo>
                <a:lnTo>
                  <a:pt x="400" y="230"/>
                </a:lnTo>
                <a:lnTo>
                  <a:pt x="358" y="236"/>
                </a:lnTo>
                <a:lnTo>
                  <a:pt x="314" y="244"/>
                </a:lnTo>
                <a:lnTo>
                  <a:pt x="272" y="254"/>
                </a:lnTo>
                <a:lnTo>
                  <a:pt x="230" y="266"/>
                </a:lnTo>
                <a:lnTo>
                  <a:pt x="230" y="266"/>
                </a:lnTo>
                <a:lnTo>
                  <a:pt x="198" y="278"/>
                </a:lnTo>
                <a:lnTo>
                  <a:pt x="168" y="290"/>
                </a:lnTo>
                <a:lnTo>
                  <a:pt x="138" y="302"/>
                </a:lnTo>
                <a:lnTo>
                  <a:pt x="108" y="316"/>
                </a:lnTo>
                <a:lnTo>
                  <a:pt x="52" y="346"/>
                </a:lnTo>
                <a:lnTo>
                  <a:pt x="0" y="382"/>
                </a:lnTo>
                <a:lnTo>
                  <a:pt x="0" y="382"/>
                </a:lnTo>
                <a:lnTo>
                  <a:pt x="20" y="352"/>
                </a:lnTo>
                <a:lnTo>
                  <a:pt x="40" y="324"/>
                </a:lnTo>
                <a:lnTo>
                  <a:pt x="64" y="298"/>
                </a:lnTo>
                <a:lnTo>
                  <a:pt x="86" y="272"/>
                </a:lnTo>
                <a:lnTo>
                  <a:pt x="112" y="246"/>
                </a:lnTo>
                <a:lnTo>
                  <a:pt x="136" y="222"/>
                </a:lnTo>
                <a:lnTo>
                  <a:pt x="164" y="200"/>
                </a:lnTo>
                <a:lnTo>
                  <a:pt x="192" y="178"/>
                </a:lnTo>
                <a:lnTo>
                  <a:pt x="220" y="156"/>
                </a:lnTo>
                <a:lnTo>
                  <a:pt x="250" y="136"/>
                </a:lnTo>
                <a:lnTo>
                  <a:pt x="280" y="118"/>
                </a:lnTo>
                <a:lnTo>
                  <a:pt x="312" y="100"/>
                </a:lnTo>
                <a:lnTo>
                  <a:pt x="344" y="84"/>
                </a:lnTo>
                <a:lnTo>
                  <a:pt x="378" y="68"/>
                </a:lnTo>
                <a:lnTo>
                  <a:pt x="412" y="56"/>
                </a:lnTo>
                <a:lnTo>
                  <a:pt x="448" y="42"/>
                </a:lnTo>
                <a:lnTo>
                  <a:pt x="448" y="42"/>
                </a:lnTo>
                <a:lnTo>
                  <a:pt x="488" y="30"/>
                </a:lnTo>
                <a:lnTo>
                  <a:pt x="530" y="20"/>
                </a:lnTo>
                <a:lnTo>
                  <a:pt x="570" y="12"/>
                </a:lnTo>
                <a:lnTo>
                  <a:pt x="612" y="6"/>
                </a:lnTo>
                <a:lnTo>
                  <a:pt x="652" y="2"/>
                </a:lnTo>
                <a:lnTo>
                  <a:pt x="692" y="0"/>
                </a:lnTo>
                <a:lnTo>
                  <a:pt x="734" y="0"/>
                </a:lnTo>
                <a:lnTo>
                  <a:pt x="774" y="2"/>
                </a:lnTo>
                <a:lnTo>
                  <a:pt x="814" y="6"/>
                </a:lnTo>
                <a:lnTo>
                  <a:pt x="852" y="12"/>
                </a:lnTo>
                <a:lnTo>
                  <a:pt x="892" y="20"/>
                </a:lnTo>
                <a:lnTo>
                  <a:pt x="930" y="28"/>
                </a:lnTo>
                <a:lnTo>
                  <a:pt x="968" y="40"/>
                </a:lnTo>
                <a:lnTo>
                  <a:pt x="1006" y="52"/>
                </a:lnTo>
                <a:lnTo>
                  <a:pt x="1044" y="66"/>
                </a:lnTo>
                <a:lnTo>
                  <a:pt x="1080" y="82"/>
                </a:lnTo>
                <a:lnTo>
                  <a:pt x="1114" y="100"/>
                </a:lnTo>
                <a:lnTo>
                  <a:pt x="1150" y="118"/>
                </a:lnTo>
                <a:lnTo>
                  <a:pt x="1182" y="140"/>
                </a:lnTo>
                <a:lnTo>
                  <a:pt x="1216" y="162"/>
                </a:lnTo>
                <a:lnTo>
                  <a:pt x="1248" y="186"/>
                </a:lnTo>
                <a:lnTo>
                  <a:pt x="1278" y="210"/>
                </a:lnTo>
                <a:lnTo>
                  <a:pt x="1308" y="238"/>
                </a:lnTo>
                <a:lnTo>
                  <a:pt x="1336" y="266"/>
                </a:lnTo>
                <a:lnTo>
                  <a:pt x="1362" y="296"/>
                </a:lnTo>
                <a:lnTo>
                  <a:pt x="1388" y="326"/>
                </a:lnTo>
                <a:lnTo>
                  <a:pt x="1412" y="358"/>
                </a:lnTo>
                <a:lnTo>
                  <a:pt x="1436" y="392"/>
                </a:lnTo>
                <a:lnTo>
                  <a:pt x="1458" y="426"/>
                </a:lnTo>
                <a:lnTo>
                  <a:pt x="1476" y="462"/>
                </a:lnTo>
                <a:lnTo>
                  <a:pt x="1496" y="500"/>
                </a:lnTo>
                <a:lnTo>
                  <a:pt x="1512" y="538"/>
                </a:lnTo>
                <a:lnTo>
                  <a:pt x="1512" y="538"/>
                </a:lnTo>
                <a:lnTo>
                  <a:pt x="1542" y="530"/>
                </a:lnTo>
                <a:lnTo>
                  <a:pt x="1572" y="524"/>
                </a:lnTo>
                <a:lnTo>
                  <a:pt x="1604" y="520"/>
                </a:lnTo>
                <a:lnTo>
                  <a:pt x="1634" y="516"/>
                </a:lnTo>
                <a:lnTo>
                  <a:pt x="1664" y="514"/>
                </a:lnTo>
                <a:lnTo>
                  <a:pt x="1694" y="514"/>
                </a:lnTo>
                <a:lnTo>
                  <a:pt x="1724" y="516"/>
                </a:lnTo>
                <a:lnTo>
                  <a:pt x="1754" y="520"/>
                </a:lnTo>
                <a:lnTo>
                  <a:pt x="1782" y="524"/>
                </a:lnTo>
                <a:lnTo>
                  <a:pt x="1812" y="528"/>
                </a:lnTo>
                <a:lnTo>
                  <a:pt x="1840" y="536"/>
                </a:lnTo>
                <a:lnTo>
                  <a:pt x="1870" y="544"/>
                </a:lnTo>
                <a:lnTo>
                  <a:pt x="1898" y="554"/>
                </a:lnTo>
                <a:lnTo>
                  <a:pt x="1924" y="564"/>
                </a:lnTo>
                <a:lnTo>
                  <a:pt x="1952" y="576"/>
                </a:lnTo>
                <a:lnTo>
                  <a:pt x="1978" y="590"/>
                </a:lnTo>
                <a:lnTo>
                  <a:pt x="2004" y="604"/>
                </a:lnTo>
                <a:lnTo>
                  <a:pt x="2028" y="620"/>
                </a:lnTo>
                <a:lnTo>
                  <a:pt x="2052" y="636"/>
                </a:lnTo>
                <a:lnTo>
                  <a:pt x="2076" y="654"/>
                </a:lnTo>
                <a:lnTo>
                  <a:pt x="2098" y="674"/>
                </a:lnTo>
                <a:lnTo>
                  <a:pt x="2120" y="694"/>
                </a:lnTo>
                <a:lnTo>
                  <a:pt x="2142" y="716"/>
                </a:lnTo>
                <a:lnTo>
                  <a:pt x="2160" y="738"/>
                </a:lnTo>
                <a:lnTo>
                  <a:pt x="2180" y="760"/>
                </a:lnTo>
                <a:lnTo>
                  <a:pt x="2198" y="784"/>
                </a:lnTo>
                <a:lnTo>
                  <a:pt x="2214" y="810"/>
                </a:lnTo>
                <a:lnTo>
                  <a:pt x="2230" y="836"/>
                </a:lnTo>
                <a:lnTo>
                  <a:pt x="2244" y="864"/>
                </a:lnTo>
                <a:lnTo>
                  <a:pt x="2258" y="892"/>
                </a:lnTo>
                <a:lnTo>
                  <a:pt x="2270" y="920"/>
                </a:lnTo>
                <a:lnTo>
                  <a:pt x="2280" y="950"/>
                </a:lnTo>
                <a:lnTo>
                  <a:pt x="2280" y="950"/>
                </a:lnTo>
                <a:lnTo>
                  <a:pt x="2288" y="982"/>
                </a:lnTo>
                <a:lnTo>
                  <a:pt x="2296" y="1012"/>
                </a:lnTo>
                <a:lnTo>
                  <a:pt x="2302" y="1044"/>
                </a:lnTo>
                <a:lnTo>
                  <a:pt x="2306" y="1076"/>
                </a:lnTo>
                <a:lnTo>
                  <a:pt x="2310" y="1106"/>
                </a:lnTo>
                <a:lnTo>
                  <a:pt x="2310" y="1138"/>
                </a:lnTo>
                <a:lnTo>
                  <a:pt x="2310" y="1168"/>
                </a:lnTo>
                <a:lnTo>
                  <a:pt x="2308" y="1198"/>
                </a:lnTo>
                <a:lnTo>
                  <a:pt x="2304" y="1230"/>
                </a:lnTo>
                <a:lnTo>
                  <a:pt x="2300" y="1260"/>
                </a:lnTo>
                <a:lnTo>
                  <a:pt x="2294" y="1290"/>
                </a:lnTo>
                <a:lnTo>
                  <a:pt x="2286" y="1318"/>
                </a:lnTo>
                <a:lnTo>
                  <a:pt x="2276" y="1348"/>
                </a:lnTo>
                <a:lnTo>
                  <a:pt x="2266" y="1376"/>
                </a:lnTo>
                <a:lnTo>
                  <a:pt x="2254" y="1404"/>
                </a:lnTo>
                <a:lnTo>
                  <a:pt x="2242" y="1432"/>
                </a:lnTo>
                <a:lnTo>
                  <a:pt x="2228" y="1458"/>
                </a:lnTo>
                <a:lnTo>
                  <a:pt x="2212" y="1484"/>
                </a:lnTo>
                <a:lnTo>
                  <a:pt x="2194" y="1508"/>
                </a:lnTo>
                <a:lnTo>
                  <a:pt x="2176" y="1534"/>
                </a:lnTo>
                <a:lnTo>
                  <a:pt x="2158" y="1556"/>
                </a:lnTo>
                <a:lnTo>
                  <a:pt x="2136" y="1580"/>
                </a:lnTo>
                <a:lnTo>
                  <a:pt x="2116" y="1600"/>
                </a:lnTo>
                <a:lnTo>
                  <a:pt x="2092" y="1622"/>
                </a:lnTo>
                <a:lnTo>
                  <a:pt x="2070" y="1642"/>
                </a:lnTo>
                <a:lnTo>
                  <a:pt x="2044" y="1660"/>
                </a:lnTo>
                <a:lnTo>
                  <a:pt x="2018" y="1676"/>
                </a:lnTo>
                <a:lnTo>
                  <a:pt x="1992" y="1692"/>
                </a:lnTo>
                <a:lnTo>
                  <a:pt x="1964" y="1708"/>
                </a:lnTo>
                <a:lnTo>
                  <a:pt x="1936" y="1722"/>
                </a:lnTo>
                <a:lnTo>
                  <a:pt x="1906" y="1734"/>
                </a:lnTo>
                <a:lnTo>
                  <a:pt x="1874" y="1744"/>
                </a:lnTo>
                <a:lnTo>
                  <a:pt x="1874" y="1744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F60FB5D6-0DA8-55F4-6ED0-62BE3082920D}"/>
              </a:ext>
            </a:extLst>
          </p:cNvPr>
          <p:cNvSpPr>
            <a:spLocks/>
          </p:cNvSpPr>
          <p:nvPr/>
        </p:nvSpPr>
        <p:spPr bwMode="auto">
          <a:xfrm rot="21374256">
            <a:off x="2377556" y="3202173"/>
            <a:ext cx="1850995" cy="2921363"/>
          </a:xfrm>
          <a:custGeom>
            <a:avLst/>
            <a:gdLst>
              <a:gd name="T0" fmla="*/ 1210 w 1546"/>
              <a:gd name="T1" fmla="*/ 1564 h 2440"/>
              <a:gd name="T2" fmla="*/ 1246 w 1546"/>
              <a:gd name="T3" fmla="*/ 1680 h 2440"/>
              <a:gd name="T4" fmla="*/ 1260 w 1546"/>
              <a:gd name="T5" fmla="*/ 1798 h 2440"/>
              <a:gd name="T6" fmla="*/ 1252 w 1546"/>
              <a:gd name="T7" fmla="*/ 1916 h 2440"/>
              <a:gd name="T8" fmla="*/ 1222 w 1546"/>
              <a:gd name="T9" fmla="*/ 2030 h 2440"/>
              <a:gd name="T10" fmla="*/ 1170 w 1546"/>
              <a:gd name="T11" fmla="*/ 2136 h 2440"/>
              <a:gd name="T12" fmla="*/ 1098 w 1546"/>
              <a:gd name="T13" fmla="*/ 2232 h 2440"/>
              <a:gd name="T14" fmla="*/ 1008 w 1546"/>
              <a:gd name="T15" fmla="*/ 2314 h 2440"/>
              <a:gd name="T16" fmla="*/ 928 w 1546"/>
              <a:gd name="T17" fmla="*/ 2366 h 2440"/>
              <a:gd name="T18" fmla="*/ 812 w 1546"/>
              <a:gd name="T19" fmla="*/ 2414 h 2440"/>
              <a:gd name="T20" fmla="*/ 690 w 1546"/>
              <a:gd name="T21" fmla="*/ 2438 h 2440"/>
              <a:gd name="T22" fmla="*/ 570 w 1546"/>
              <a:gd name="T23" fmla="*/ 2438 h 2440"/>
              <a:gd name="T24" fmla="*/ 450 w 1546"/>
              <a:gd name="T25" fmla="*/ 2414 h 2440"/>
              <a:gd name="T26" fmla="*/ 338 w 1546"/>
              <a:gd name="T27" fmla="*/ 2368 h 2440"/>
              <a:gd name="T28" fmla="*/ 236 w 1546"/>
              <a:gd name="T29" fmla="*/ 2302 h 2440"/>
              <a:gd name="T30" fmla="*/ 148 w 1546"/>
              <a:gd name="T31" fmla="*/ 2214 h 2440"/>
              <a:gd name="T32" fmla="*/ 92 w 1546"/>
              <a:gd name="T33" fmla="*/ 2136 h 2440"/>
              <a:gd name="T34" fmla="*/ 20 w 1546"/>
              <a:gd name="T35" fmla="*/ 1964 h 2440"/>
              <a:gd name="T36" fmla="*/ 0 w 1546"/>
              <a:gd name="T37" fmla="*/ 1784 h 2440"/>
              <a:gd name="T38" fmla="*/ 34 w 1546"/>
              <a:gd name="T39" fmla="*/ 1610 h 2440"/>
              <a:gd name="T40" fmla="*/ 114 w 1546"/>
              <a:gd name="T41" fmla="*/ 1450 h 2440"/>
              <a:gd name="T42" fmla="*/ 158 w 1546"/>
              <a:gd name="T43" fmla="*/ 1464 h 2440"/>
              <a:gd name="T44" fmla="*/ 346 w 1546"/>
              <a:gd name="T45" fmla="*/ 1502 h 2440"/>
              <a:gd name="T46" fmla="*/ 538 w 1546"/>
              <a:gd name="T47" fmla="*/ 1496 h 2440"/>
              <a:gd name="T48" fmla="*/ 728 w 1546"/>
              <a:gd name="T49" fmla="*/ 1446 h 2440"/>
              <a:gd name="T50" fmla="*/ 864 w 1546"/>
              <a:gd name="T51" fmla="*/ 1380 h 2440"/>
              <a:gd name="T52" fmla="*/ 1002 w 1546"/>
              <a:gd name="T53" fmla="*/ 1276 h 2440"/>
              <a:gd name="T54" fmla="*/ 1116 w 1546"/>
              <a:gd name="T55" fmla="*/ 1148 h 2440"/>
              <a:gd name="T56" fmla="*/ 1200 w 1546"/>
              <a:gd name="T57" fmla="*/ 1004 h 2440"/>
              <a:gd name="T58" fmla="*/ 1254 w 1546"/>
              <a:gd name="T59" fmla="*/ 848 h 2440"/>
              <a:gd name="T60" fmla="*/ 1278 w 1546"/>
              <a:gd name="T61" fmla="*/ 686 h 2440"/>
              <a:gd name="T62" fmla="*/ 1270 w 1546"/>
              <a:gd name="T63" fmla="*/ 520 h 2440"/>
              <a:gd name="T64" fmla="*/ 1230 w 1546"/>
              <a:gd name="T65" fmla="*/ 354 h 2440"/>
              <a:gd name="T66" fmla="*/ 1154 w 1546"/>
              <a:gd name="T67" fmla="*/ 198 h 2440"/>
              <a:gd name="T68" fmla="*/ 1100 w 1546"/>
              <a:gd name="T69" fmla="*/ 116 h 2440"/>
              <a:gd name="T70" fmla="*/ 990 w 1546"/>
              <a:gd name="T71" fmla="*/ 0 h 2440"/>
              <a:gd name="T72" fmla="*/ 1116 w 1546"/>
              <a:gd name="T73" fmla="*/ 60 h 2440"/>
              <a:gd name="T74" fmla="*/ 1232 w 1546"/>
              <a:gd name="T75" fmla="*/ 140 h 2440"/>
              <a:gd name="T76" fmla="*/ 1336 w 1546"/>
              <a:gd name="T77" fmla="*/ 240 h 2440"/>
              <a:gd name="T78" fmla="*/ 1422 w 1546"/>
              <a:gd name="T79" fmla="*/ 360 h 2440"/>
              <a:gd name="T80" fmla="*/ 1480 w 1546"/>
              <a:gd name="T81" fmla="*/ 472 h 2440"/>
              <a:gd name="T82" fmla="*/ 1528 w 1546"/>
              <a:gd name="T83" fmla="*/ 628 h 2440"/>
              <a:gd name="T84" fmla="*/ 1546 w 1546"/>
              <a:gd name="T85" fmla="*/ 786 h 2440"/>
              <a:gd name="T86" fmla="*/ 1536 w 1546"/>
              <a:gd name="T87" fmla="*/ 944 h 2440"/>
              <a:gd name="T88" fmla="*/ 1496 w 1546"/>
              <a:gd name="T89" fmla="*/ 1096 h 2440"/>
              <a:gd name="T90" fmla="*/ 1428 w 1546"/>
              <a:gd name="T91" fmla="*/ 1240 h 2440"/>
              <a:gd name="T92" fmla="*/ 1336 w 1546"/>
              <a:gd name="T93" fmla="*/ 1370 h 2440"/>
              <a:gd name="T94" fmla="*/ 1216 w 1546"/>
              <a:gd name="T95" fmla="*/ 1482 h 2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6" h="2440">
                <a:moveTo>
                  <a:pt x="1184" y="1508"/>
                </a:moveTo>
                <a:lnTo>
                  <a:pt x="1184" y="1508"/>
                </a:lnTo>
                <a:lnTo>
                  <a:pt x="1198" y="1536"/>
                </a:lnTo>
                <a:lnTo>
                  <a:pt x="1210" y="1564"/>
                </a:lnTo>
                <a:lnTo>
                  <a:pt x="1222" y="1592"/>
                </a:lnTo>
                <a:lnTo>
                  <a:pt x="1232" y="1622"/>
                </a:lnTo>
                <a:lnTo>
                  <a:pt x="1240" y="1650"/>
                </a:lnTo>
                <a:lnTo>
                  <a:pt x="1246" y="1680"/>
                </a:lnTo>
                <a:lnTo>
                  <a:pt x="1252" y="1710"/>
                </a:lnTo>
                <a:lnTo>
                  <a:pt x="1256" y="1738"/>
                </a:lnTo>
                <a:lnTo>
                  <a:pt x="1260" y="1768"/>
                </a:lnTo>
                <a:lnTo>
                  <a:pt x="1260" y="1798"/>
                </a:lnTo>
                <a:lnTo>
                  <a:pt x="1260" y="1828"/>
                </a:lnTo>
                <a:lnTo>
                  <a:pt x="1258" y="1858"/>
                </a:lnTo>
                <a:lnTo>
                  <a:pt x="1256" y="1886"/>
                </a:lnTo>
                <a:lnTo>
                  <a:pt x="1252" y="1916"/>
                </a:lnTo>
                <a:lnTo>
                  <a:pt x="1246" y="1944"/>
                </a:lnTo>
                <a:lnTo>
                  <a:pt x="1240" y="1974"/>
                </a:lnTo>
                <a:lnTo>
                  <a:pt x="1230" y="2002"/>
                </a:lnTo>
                <a:lnTo>
                  <a:pt x="1222" y="2030"/>
                </a:lnTo>
                <a:lnTo>
                  <a:pt x="1210" y="2056"/>
                </a:lnTo>
                <a:lnTo>
                  <a:pt x="1198" y="2084"/>
                </a:lnTo>
                <a:lnTo>
                  <a:pt x="1184" y="2110"/>
                </a:lnTo>
                <a:lnTo>
                  <a:pt x="1170" y="2136"/>
                </a:lnTo>
                <a:lnTo>
                  <a:pt x="1154" y="2160"/>
                </a:lnTo>
                <a:lnTo>
                  <a:pt x="1136" y="2186"/>
                </a:lnTo>
                <a:lnTo>
                  <a:pt x="1118" y="2208"/>
                </a:lnTo>
                <a:lnTo>
                  <a:pt x="1098" y="2232"/>
                </a:lnTo>
                <a:lnTo>
                  <a:pt x="1078" y="2254"/>
                </a:lnTo>
                <a:lnTo>
                  <a:pt x="1056" y="2274"/>
                </a:lnTo>
                <a:lnTo>
                  <a:pt x="1034" y="2296"/>
                </a:lnTo>
                <a:lnTo>
                  <a:pt x="1008" y="2314"/>
                </a:lnTo>
                <a:lnTo>
                  <a:pt x="984" y="2332"/>
                </a:lnTo>
                <a:lnTo>
                  <a:pt x="956" y="2350"/>
                </a:lnTo>
                <a:lnTo>
                  <a:pt x="956" y="2350"/>
                </a:lnTo>
                <a:lnTo>
                  <a:pt x="928" y="2366"/>
                </a:lnTo>
                <a:lnTo>
                  <a:pt x="900" y="2380"/>
                </a:lnTo>
                <a:lnTo>
                  <a:pt x="870" y="2392"/>
                </a:lnTo>
                <a:lnTo>
                  <a:pt x="842" y="2404"/>
                </a:lnTo>
                <a:lnTo>
                  <a:pt x="812" y="2414"/>
                </a:lnTo>
                <a:lnTo>
                  <a:pt x="782" y="2422"/>
                </a:lnTo>
                <a:lnTo>
                  <a:pt x="752" y="2428"/>
                </a:lnTo>
                <a:lnTo>
                  <a:pt x="722" y="2434"/>
                </a:lnTo>
                <a:lnTo>
                  <a:pt x="690" y="2438"/>
                </a:lnTo>
                <a:lnTo>
                  <a:pt x="660" y="2440"/>
                </a:lnTo>
                <a:lnTo>
                  <a:pt x="630" y="2440"/>
                </a:lnTo>
                <a:lnTo>
                  <a:pt x="600" y="2440"/>
                </a:lnTo>
                <a:lnTo>
                  <a:pt x="570" y="2438"/>
                </a:lnTo>
                <a:lnTo>
                  <a:pt x="540" y="2434"/>
                </a:lnTo>
                <a:lnTo>
                  <a:pt x="510" y="2428"/>
                </a:lnTo>
                <a:lnTo>
                  <a:pt x="480" y="2422"/>
                </a:lnTo>
                <a:lnTo>
                  <a:pt x="450" y="2414"/>
                </a:lnTo>
                <a:lnTo>
                  <a:pt x="422" y="2404"/>
                </a:lnTo>
                <a:lnTo>
                  <a:pt x="394" y="2394"/>
                </a:lnTo>
                <a:lnTo>
                  <a:pt x="366" y="2382"/>
                </a:lnTo>
                <a:lnTo>
                  <a:pt x="338" y="2368"/>
                </a:lnTo>
                <a:lnTo>
                  <a:pt x="312" y="2354"/>
                </a:lnTo>
                <a:lnTo>
                  <a:pt x="286" y="2338"/>
                </a:lnTo>
                <a:lnTo>
                  <a:pt x="260" y="2320"/>
                </a:lnTo>
                <a:lnTo>
                  <a:pt x="236" y="2302"/>
                </a:lnTo>
                <a:lnTo>
                  <a:pt x="212" y="2282"/>
                </a:lnTo>
                <a:lnTo>
                  <a:pt x="190" y="2260"/>
                </a:lnTo>
                <a:lnTo>
                  <a:pt x="168" y="2238"/>
                </a:lnTo>
                <a:lnTo>
                  <a:pt x="148" y="2214"/>
                </a:lnTo>
                <a:lnTo>
                  <a:pt x="128" y="2190"/>
                </a:lnTo>
                <a:lnTo>
                  <a:pt x="108" y="2164"/>
                </a:lnTo>
                <a:lnTo>
                  <a:pt x="92" y="2136"/>
                </a:lnTo>
                <a:lnTo>
                  <a:pt x="92" y="2136"/>
                </a:lnTo>
                <a:lnTo>
                  <a:pt x="68" y="2094"/>
                </a:lnTo>
                <a:lnTo>
                  <a:pt x="48" y="2052"/>
                </a:lnTo>
                <a:lnTo>
                  <a:pt x="32" y="2008"/>
                </a:lnTo>
                <a:lnTo>
                  <a:pt x="20" y="1964"/>
                </a:lnTo>
                <a:lnTo>
                  <a:pt x="10" y="1920"/>
                </a:lnTo>
                <a:lnTo>
                  <a:pt x="4" y="1874"/>
                </a:lnTo>
                <a:lnTo>
                  <a:pt x="0" y="1830"/>
                </a:lnTo>
                <a:lnTo>
                  <a:pt x="0" y="1784"/>
                </a:lnTo>
                <a:lnTo>
                  <a:pt x="4" y="1740"/>
                </a:lnTo>
                <a:lnTo>
                  <a:pt x="10" y="1696"/>
                </a:lnTo>
                <a:lnTo>
                  <a:pt x="20" y="1652"/>
                </a:lnTo>
                <a:lnTo>
                  <a:pt x="34" y="1610"/>
                </a:lnTo>
                <a:lnTo>
                  <a:pt x="48" y="1568"/>
                </a:lnTo>
                <a:lnTo>
                  <a:pt x="68" y="1526"/>
                </a:lnTo>
                <a:lnTo>
                  <a:pt x="90" y="1488"/>
                </a:lnTo>
                <a:lnTo>
                  <a:pt x="114" y="1450"/>
                </a:lnTo>
                <a:lnTo>
                  <a:pt x="114" y="1450"/>
                </a:lnTo>
                <a:lnTo>
                  <a:pt x="112" y="1448"/>
                </a:lnTo>
                <a:lnTo>
                  <a:pt x="112" y="1448"/>
                </a:lnTo>
                <a:lnTo>
                  <a:pt x="158" y="1464"/>
                </a:lnTo>
                <a:lnTo>
                  <a:pt x="204" y="1478"/>
                </a:lnTo>
                <a:lnTo>
                  <a:pt x="250" y="1488"/>
                </a:lnTo>
                <a:lnTo>
                  <a:pt x="298" y="1496"/>
                </a:lnTo>
                <a:lnTo>
                  <a:pt x="346" y="1502"/>
                </a:lnTo>
                <a:lnTo>
                  <a:pt x="394" y="1504"/>
                </a:lnTo>
                <a:lnTo>
                  <a:pt x="442" y="1504"/>
                </a:lnTo>
                <a:lnTo>
                  <a:pt x="490" y="1502"/>
                </a:lnTo>
                <a:lnTo>
                  <a:pt x="538" y="1496"/>
                </a:lnTo>
                <a:lnTo>
                  <a:pt x="586" y="1488"/>
                </a:lnTo>
                <a:lnTo>
                  <a:pt x="634" y="1478"/>
                </a:lnTo>
                <a:lnTo>
                  <a:pt x="680" y="1464"/>
                </a:lnTo>
                <a:lnTo>
                  <a:pt x="728" y="1446"/>
                </a:lnTo>
                <a:lnTo>
                  <a:pt x="774" y="1428"/>
                </a:lnTo>
                <a:lnTo>
                  <a:pt x="818" y="1406"/>
                </a:lnTo>
                <a:lnTo>
                  <a:pt x="864" y="1380"/>
                </a:lnTo>
                <a:lnTo>
                  <a:pt x="864" y="1380"/>
                </a:lnTo>
                <a:lnTo>
                  <a:pt x="900" y="1356"/>
                </a:lnTo>
                <a:lnTo>
                  <a:pt x="936" y="1330"/>
                </a:lnTo>
                <a:lnTo>
                  <a:pt x="970" y="1304"/>
                </a:lnTo>
                <a:lnTo>
                  <a:pt x="1002" y="1276"/>
                </a:lnTo>
                <a:lnTo>
                  <a:pt x="1034" y="1246"/>
                </a:lnTo>
                <a:lnTo>
                  <a:pt x="1062" y="1214"/>
                </a:lnTo>
                <a:lnTo>
                  <a:pt x="1090" y="1182"/>
                </a:lnTo>
                <a:lnTo>
                  <a:pt x="1116" y="1148"/>
                </a:lnTo>
                <a:lnTo>
                  <a:pt x="1138" y="1114"/>
                </a:lnTo>
                <a:lnTo>
                  <a:pt x="1160" y="1078"/>
                </a:lnTo>
                <a:lnTo>
                  <a:pt x="1182" y="1042"/>
                </a:lnTo>
                <a:lnTo>
                  <a:pt x="1200" y="1004"/>
                </a:lnTo>
                <a:lnTo>
                  <a:pt x="1216" y="966"/>
                </a:lnTo>
                <a:lnTo>
                  <a:pt x="1230" y="928"/>
                </a:lnTo>
                <a:lnTo>
                  <a:pt x="1244" y="888"/>
                </a:lnTo>
                <a:lnTo>
                  <a:pt x="1254" y="848"/>
                </a:lnTo>
                <a:lnTo>
                  <a:pt x="1262" y="808"/>
                </a:lnTo>
                <a:lnTo>
                  <a:pt x="1270" y="768"/>
                </a:lnTo>
                <a:lnTo>
                  <a:pt x="1274" y="726"/>
                </a:lnTo>
                <a:lnTo>
                  <a:pt x="1278" y="686"/>
                </a:lnTo>
                <a:lnTo>
                  <a:pt x="1278" y="644"/>
                </a:lnTo>
                <a:lnTo>
                  <a:pt x="1278" y="602"/>
                </a:lnTo>
                <a:lnTo>
                  <a:pt x="1276" y="560"/>
                </a:lnTo>
                <a:lnTo>
                  <a:pt x="1270" y="520"/>
                </a:lnTo>
                <a:lnTo>
                  <a:pt x="1264" y="478"/>
                </a:lnTo>
                <a:lnTo>
                  <a:pt x="1254" y="436"/>
                </a:lnTo>
                <a:lnTo>
                  <a:pt x="1242" y="396"/>
                </a:lnTo>
                <a:lnTo>
                  <a:pt x="1230" y="354"/>
                </a:lnTo>
                <a:lnTo>
                  <a:pt x="1214" y="314"/>
                </a:lnTo>
                <a:lnTo>
                  <a:pt x="1196" y="276"/>
                </a:lnTo>
                <a:lnTo>
                  <a:pt x="1176" y="236"/>
                </a:lnTo>
                <a:lnTo>
                  <a:pt x="1154" y="198"/>
                </a:lnTo>
                <a:lnTo>
                  <a:pt x="1154" y="198"/>
                </a:lnTo>
                <a:lnTo>
                  <a:pt x="1136" y="170"/>
                </a:lnTo>
                <a:lnTo>
                  <a:pt x="1118" y="142"/>
                </a:lnTo>
                <a:lnTo>
                  <a:pt x="1100" y="116"/>
                </a:lnTo>
                <a:lnTo>
                  <a:pt x="1078" y="92"/>
                </a:lnTo>
                <a:lnTo>
                  <a:pt x="1036" y="44"/>
                </a:lnTo>
                <a:lnTo>
                  <a:pt x="990" y="0"/>
                </a:lnTo>
                <a:lnTo>
                  <a:pt x="990" y="0"/>
                </a:lnTo>
                <a:lnTo>
                  <a:pt x="1022" y="12"/>
                </a:lnTo>
                <a:lnTo>
                  <a:pt x="1054" y="28"/>
                </a:lnTo>
                <a:lnTo>
                  <a:pt x="1086" y="42"/>
                </a:lnTo>
                <a:lnTo>
                  <a:pt x="1116" y="60"/>
                </a:lnTo>
                <a:lnTo>
                  <a:pt x="1146" y="78"/>
                </a:lnTo>
                <a:lnTo>
                  <a:pt x="1176" y="98"/>
                </a:lnTo>
                <a:lnTo>
                  <a:pt x="1204" y="118"/>
                </a:lnTo>
                <a:lnTo>
                  <a:pt x="1232" y="140"/>
                </a:lnTo>
                <a:lnTo>
                  <a:pt x="1260" y="164"/>
                </a:lnTo>
                <a:lnTo>
                  <a:pt x="1286" y="188"/>
                </a:lnTo>
                <a:lnTo>
                  <a:pt x="1312" y="214"/>
                </a:lnTo>
                <a:lnTo>
                  <a:pt x="1336" y="240"/>
                </a:lnTo>
                <a:lnTo>
                  <a:pt x="1358" y="268"/>
                </a:lnTo>
                <a:lnTo>
                  <a:pt x="1380" y="298"/>
                </a:lnTo>
                <a:lnTo>
                  <a:pt x="1402" y="328"/>
                </a:lnTo>
                <a:lnTo>
                  <a:pt x="1422" y="360"/>
                </a:lnTo>
                <a:lnTo>
                  <a:pt x="1422" y="360"/>
                </a:lnTo>
                <a:lnTo>
                  <a:pt x="1444" y="396"/>
                </a:lnTo>
                <a:lnTo>
                  <a:pt x="1462" y="434"/>
                </a:lnTo>
                <a:lnTo>
                  <a:pt x="1480" y="472"/>
                </a:lnTo>
                <a:lnTo>
                  <a:pt x="1494" y="510"/>
                </a:lnTo>
                <a:lnTo>
                  <a:pt x="1508" y="548"/>
                </a:lnTo>
                <a:lnTo>
                  <a:pt x="1518" y="588"/>
                </a:lnTo>
                <a:lnTo>
                  <a:pt x="1528" y="628"/>
                </a:lnTo>
                <a:lnTo>
                  <a:pt x="1536" y="666"/>
                </a:lnTo>
                <a:lnTo>
                  <a:pt x="1542" y="706"/>
                </a:lnTo>
                <a:lnTo>
                  <a:pt x="1544" y="746"/>
                </a:lnTo>
                <a:lnTo>
                  <a:pt x="1546" y="786"/>
                </a:lnTo>
                <a:lnTo>
                  <a:pt x="1546" y="826"/>
                </a:lnTo>
                <a:lnTo>
                  <a:pt x="1544" y="866"/>
                </a:lnTo>
                <a:lnTo>
                  <a:pt x="1540" y="904"/>
                </a:lnTo>
                <a:lnTo>
                  <a:pt x="1536" y="944"/>
                </a:lnTo>
                <a:lnTo>
                  <a:pt x="1528" y="982"/>
                </a:lnTo>
                <a:lnTo>
                  <a:pt x="1520" y="1022"/>
                </a:lnTo>
                <a:lnTo>
                  <a:pt x="1508" y="1060"/>
                </a:lnTo>
                <a:lnTo>
                  <a:pt x="1496" y="1096"/>
                </a:lnTo>
                <a:lnTo>
                  <a:pt x="1482" y="1134"/>
                </a:lnTo>
                <a:lnTo>
                  <a:pt x="1466" y="1170"/>
                </a:lnTo>
                <a:lnTo>
                  <a:pt x="1448" y="1206"/>
                </a:lnTo>
                <a:lnTo>
                  <a:pt x="1428" y="1240"/>
                </a:lnTo>
                <a:lnTo>
                  <a:pt x="1408" y="1274"/>
                </a:lnTo>
                <a:lnTo>
                  <a:pt x="1386" y="1308"/>
                </a:lnTo>
                <a:lnTo>
                  <a:pt x="1362" y="1340"/>
                </a:lnTo>
                <a:lnTo>
                  <a:pt x="1336" y="1370"/>
                </a:lnTo>
                <a:lnTo>
                  <a:pt x="1308" y="1400"/>
                </a:lnTo>
                <a:lnTo>
                  <a:pt x="1280" y="1430"/>
                </a:lnTo>
                <a:lnTo>
                  <a:pt x="1248" y="1456"/>
                </a:lnTo>
                <a:lnTo>
                  <a:pt x="1216" y="1482"/>
                </a:lnTo>
                <a:lnTo>
                  <a:pt x="1184" y="1508"/>
                </a:lnTo>
                <a:lnTo>
                  <a:pt x="1184" y="1508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A28A84E5-8E25-32F2-E44C-5D96391CAF04}"/>
              </a:ext>
            </a:extLst>
          </p:cNvPr>
          <p:cNvSpPr>
            <a:spLocks/>
          </p:cNvSpPr>
          <p:nvPr/>
        </p:nvSpPr>
        <p:spPr bwMode="auto">
          <a:xfrm>
            <a:off x="931738" y="3666516"/>
            <a:ext cx="2892629" cy="1508573"/>
          </a:xfrm>
          <a:custGeom>
            <a:avLst/>
            <a:gdLst>
              <a:gd name="T0" fmla="*/ 2234 w 2416"/>
              <a:gd name="T1" fmla="*/ 758 h 1260"/>
              <a:gd name="T2" fmla="*/ 2122 w 2416"/>
              <a:gd name="T3" fmla="*/ 878 h 1260"/>
              <a:gd name="T4" fmla="*/ 1992 w 2416"/>
              <a:gd name="T5" fmla="*/ 972 h 1260"/>
              <a:gd name="T6" fmla="*/ 1848 w 2416"/>
              <a:gd name="T7" fmla="*/ 1040 h 1260"/>
              <a:gd name="T8" fmla="*/ 1696 w 2416"/>
              <a:gd name="T9" fmla="*/ 1080 h 1260"/>
              <a:gd name="T10" fmla="*/ 1538 w 2416"/>
              <a:gd name="T11" fmla="*/ 1092 h 1260"/>
              <a:gd name="T12" fmla="*/ 1378 w 2416"/>
              <a:gd name="T13" fmla="*/ 1074 h 1260"/>
              <a:gd name="T14" fmla="*/ 1224 w 2416"/>
              <a:gd name="T15" fmla="*/ 1026 h 1260"/>
              <a:gd name="T16" fmla="*/ 1130 w 2416"/>
              <a:gd name="T17" fmla="*/ 1014 h 1260"/>
              <a:gd name="T18" fmla="*/ 1046 w 2416"/>
              <a:gd name="T19" fmla="*/ 1104 h 1260"/>
              <a:gd name="T20" fmla="*/ 950 w 2416"/>
              <a:gd name="T21" fmla="*/ 1174 h 1260"/>
              <a:gd name="T22" fmla="*/ 842 w 2416"/>
              <a:gd name="T23" fmla="*/ 1224 h 1260"/>
              <a:gd name="T24" fmla="*/ 728 w 2416"/>
              <a:gd name="T25" fmla="*/ 1252 h 1260"/>
              <a:gd name="T26" fmla="*/ 610 w 2416"/>
              <a:gd name="T27" fmla="*/ 1260 h 1260"/>
              <a:gd name="T28" fmla="*/ 492 w 2416"/>
              <a:gd name="T29" fmla="*/ 1246 h 1260"/>
              <a:gd name="T30" fmla="*/ 376 w 2416"/>
              <a:gd name="T31" fmla="*/ 1208 h 1260"/>
              <a:gd name="T32" fmla="*/ 294 w 2416"/>
              <a:gd name="T33" fmla="*/ 1164 h 1260"/>
              <a:gd name="T34" fmla="*/ 194 w 2416"/>
              <a:gd name="T35" fmla="*/ 1084 h 1260"/>
              <a:gd name="T36" fmla="*/ 114 w 2416"/>
              <a:gd name="T37" fmla="*/ 990 h 1260"/>
              <a:gd name="T38" fmla="*/ 54 w 2416"/>
              <a:gd name="T39" fmla="*/ 884 h 1260"/>
              <a:gd name="T40" fmla="*/ 16 w 2416"/>
              <a:gd name="T41" fmla="*/ 770 h 1260"/>
              <a:gd name="T42" fmla="*/ 0 w 2416"/>
              <a:gd name="T43" fmla="*/ 650 h 1260"/>
              <a:gd name="T44" fmla="*/ 8 w 2416"/>
              <a:gd name="T45" fmla="*/ 528 h 1260"/>
              <a:gd name="T46" fmla="*/ 40 w 2416"/>
              <a:gd name="T47" fmla="*/ 408 h 1260"/>
              <a:gd name="T48" fmla="*/ 98 w 2416"/>
              <a:gd name="T49" fmla="*/ 294 h 1260"/>
              <a:gd name="T50" fmla="*/ 186 w 2416"/>
              <a:gd name="T51" fmla="*/ 184 h 1260"/>
              <a:gd name="T52" fmla="*/ 332 w 2416"/>
              <a:gd name="T53" fmla="*/ 76 h 1260"/>
              <a:gd name="T54" fmla="*/ 500 w 2416"/>
              <a:gd name="T55" fmla="*/ 14 h 1260"/>
              <a:gd name="T56" fmla="*/ 678 w 2416"/>
              <a:gd name="T57" fmla="*/ 2 h 1260"/>
              <a:gd name="T58" fmla="*/ 722 w 2416"/>
              <a:gd name="T59" fmla="*/ 6 h 1260"/>
              <a:gd name="T60" fmla="*/ 764 w 2416"/>
              <a:gd name="T61" fmla="*/ 192 h 1260"/>
              <a:gd name="T62" fmla="*/ 844 w 2416"/>
              <a:gd name="T63" fmla="*/ 366 h 1260"/>
              <a:gd name="T64" fmla="*/ 964 w 2416"/>
              <a:gd name="T65" fmla="*/ 520 h 1260"/>
              <a:gd name="T66" fmla="*/ 1120 w 2416"/>
              <a:gd name="T67" fmla="*/ 646 h 1260"/>
              <a:gd name="T68" fmla="*/ 1236 w 2416"/>
              <a:gd name="T69" fmla="*/ 708 h 1260"/>
              <a:gd name="T70" fmla="*/ 1398 w 2416"/>
              <a:gd name="T71" fmla="*/ 760 h 1260"/>
              <a:gd name="T72" fmla="*/ 1564 w 2416"/>
              <a:gd name="T73" fmla="*/ 780 h 1260"/>
              <a:gd name="T74" fmla="*/ 1728 w 2416"/>
              <a:gd name="T75" fmla="*/ 766 h 1260"/>
              <a:gd name="T76" fmla="*/ 1888 w 2416"/>
              <a:gd name="T77" fmla="*/ 722 h 1260"/>
              <a:gd name="T78" fmla="*/ 2036 w 2416"/>
              <a:gd name="T79" fmla="*/ 648 h 1260"/>
              <a:gd name="T80" fmla="*/ 2170 w 2416"/>
              <a:gd name="T81" fmla="*/ 546 h 1260"/>
              <a:gd name="T82" fmla="*/ 2284 w 2416"/>
              <a:gd name="T83" fmla="*/ 414 h 1260"/>
              <a:gd name="T84" fmla="*/ 2340 w 2416"/>
              <a:gd name="T85" fmla="*/ 322 h 1260"/>
              <a:gd name="T86" fmla="*/ 2412 w 2416"/>
              <a:gd name="T87" fmla="*/ 144 h 1260"/>
              <a:gd name="T88" fmla="*/ 2416 w 2416"/>
              <a:gd name="T89" fmla="*/ 248 h 1260"/>
              <a:gd name="T90" fmla="*/ 2402 w 2416"/>
              <a:gd name="T91" fmla="*/ 388 h 1260"/>
              <a:gd name="T92" fmla="*/ 2364 w 2416"/>
              <a:gd name="T93" fmla="*/ 526 h 1260"/>
              <a:gd name="T94" fmla="*/ 2302 w 2416"/>
              <a:gd name="T95" fmla="*/ 658 h 1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16" h="1260">
                <a:moveTo>
                  <a:pt x="2282" y="690"/>
                </a:moveTo>
                <a:lnTo>
                  <a:pt x="2282" y="690"/>
                </a:lnTo>
                <a:lnTo>
                  <a:pt x="2258" y="726"/>
                </a:lnTo>
                <a:lnTo>
                  <a:pt x="2234" y="758"/>
                </a:lnTo>
                <a:lnTo>
                  <a:pt x="2208" y="792"/>
                </a:lnTo>
                <a:lnTo>
                  <a:pt x="2180" y="822"/>
                </a:lnTo>
                <a:lnTo>
                  <a:pt x="2152" y="850"/>
                </a:lnTo>
                <a:lnTo>
                  <a:pt x="2122" y="878"/>
                </a:lnTo>
                <a:lnTo>
                  <a:pt x="2090" y="904"/>
                </a:lnTo>
                <a:lnTo>
                  <a:pt x="2058" y="928"/>
                </a:lnTo>
                <a:lnTo>
                  <a:pt x="2026" y="952"/>
                </a:lnTo>
                <a:lnTo>
                  <a:pt x="1992" y="972"/>
                </a:lnTo>
                <a:lnTo>
                  <a:pt x="1956" y="992"/>
                </a:lnTo>
                <a:lnTo>
                  <a:pt x="1920" y="1010"/>
                </a:lnTo>
                <a:lnTo>
                  <a:pt x="1884" y="1026"/>
                </a:lnTo>
                <a:lnTo>
                  <a:pt x="1848" y="1040"/>
                </a:lnTo>
                <a:lnTo>
                  <a:pt x="1810" y="1052"/>
                </a:lnTo>
                <a:lnTo>
                  <a:pt x="1772" y="1064"/>
                </a:lnTo>
                <a:lnTo>
                  <a:pt x="1734" y="1072"/>
                </a:lnTo>
                <a:lnTo>
                  <a:pt x="1696" y="1080"/>
                </a:lnTo>
                <a:lnTo>
                  <a:pt x="1656" y="1086"/>
                </a:lnTo>
                <a:lnTo>
                  <a:pt x="1616" y="1090"/>
                </a:lnTo>
                <a:lnTo>
                  <a:pt x="1576" y="1092"/>
                </a:lnTo>
                <a:lnTo>
                  <a:pt x="1538" y="1092"/>
                </a:lnTo>
                <a:lnTo>
                  <a:pt x="1498" y="1090"/>
                </a:lnTo>
                <a:lnTo>
                  <a:pt x="1458" y="1086"/>
                </a:lnTo>
                <a:lnTo>
                  <a:pt x="1418" y="1080"/>
                </a:lnTo>
                <a:lnTo>
                  <a:pt x="1378" y="1074"/>
                </a:lnTo>
                <a:lnTo>
                  <a:pt x="1340" y="1064"/>
                </a:lnTo>
                <a:lnTo>
                  <a:pt x="1300" y="1054"/>
                </a:lnTo>
                <a:lnTo>
                  <a:pt x="1262" y="1040"/>
                </a:lnTo>
                <a:lnTo>
                  <a:pt x="1224" y="1026"/>
                </a:lnTo>
                <a:lnTo>
                  <a:pt x="1186" y="1008"/>
                </a:lnTo>
                <a:lnTo>
                  <a:pt x="1148" y="990"/>
                </a:lnTo>
                <a:lnTo>
                  <a:pt x="1148" y="990"/>
                </a:lnTo>
                <a:lnTo>
                  <a:pt x="1130" y="1014"/>
                </a:lnTo>
                <a:lnTo>
                  <a:pt x="1110" y="1038"/>
                </a:lnTo>
                <a:lnTo>
                  <a:pt x="1090" y="1062"/>
                </a:lnTo>
                <a:lnTo>
                  <a:pt x="1068" y="1084"/>
                </a:lnTo>
                <a:lnTo>
                  <a:pt x="1046" y="1104"/>
                </a:lnTo>
                <a:lnTo>
                  <a:pt x="1022" y="1124"/>
                </a:lnTo>
                <a:lnTo>
                  <a:pt x="1000" y="1142"/>
                </a:lnTo>
                <a:lnTo>
                  <a:pt x="974" y="1158"/>
                </a:lnTo>
                <a:lnTo>
                  <a:pt x="950" y="1174"/>
                </a:lnTo>
                <a:lnTo>
                  <a:pt x="924" y="1188"/>
                </a:lnTo>
                <a:lnTo>
                  <a:pt x="896" y="1202"/>
                </a:lnTo>
                <a:lnTo>
                  <a:pt x="870" y="1214"/>
                </a:lnTo>
                <a:lnTo>
                  <a:pt x="842" y="1224"/>
                </a:lnTo>
                <a:lnTo>
                  <a:pt x="814" y="1234"/>
                </a:lnTo>
                <a:lnTo>
                  <a:pt x="786" y="1242"/>
                </a:lnTo>
                <a:lnTo>
                  <a:pt x="756" y="1248"/>
                </a:lnTo>
                <a:lnTo>
                  <a:pt x="728" y="1252"/>
                </a:lnTo>
                <a:lnTo>
                  <a:pt x="698" y="1256"/>
                </a:lnTo>
                <a:lnTo>
                  <a:pt x="670" y="1260"/>
                </a:lnTo>
                <a:lnTo>
                  <a:pt x="640" y="1260"/>
                </a:lnTo>
                <a:lnTo>
                  <a:pt x="610" y="1260"/>
                </a:lnTo>
                <a:lnTo>
                  <a:pt x="580" y="1258"/>
                </a:lnTo>
                <a:lnTo>
                  <a:pt x="552" y="1256"/>
                </a:lnTo>
                <a:lnTo>
                  <a:pt x="522" y="1252"/>
                </a:lnTo>
                <a:lnTo>
                  <a:pt x="492" y="1246"/>
                </a:lnTo>
                <a:lnTo>
                  <a:pt x="464" y="1238"/>
                </a:lnTo>
                <a:lnTo>
                  <a:pt x="434" y="1230"/>
                </a:lnTo>
                <a:lnTo>
                  <a:pt x="406" y="1218"/>
                </a:lnTo>
                <a:lnTo>
                  <a:pt x="376" y="1208"/>
                </a:lnTo>
                <a:lnTo>
                  <a:pt x="348" y="1194"/>
                </a:lnTo>
                <a:lnTo>
                  <a:pt x="322" y="1180"/>
                </a:lnTo>
                <a:lnTo>
                  <a:pt x="294" y="1164"/>
                </a:lnTo>
                <a:lnTo>
                  <a:pt x="294" y="1164"/>
                </a:lnTo>
                <a:lnTo>
                  <a:pt x="268" y="1146"/>
                </a:lnTo>
                <a:lnTo>
                  <a:pt x="242" y="1126"/>
                </a:lnTo>
                <a:lnTo>
                  <a:pt x="216" y="1106"/>
                </a:lnTo>
                <a:lnTo>
                  <a:pt x="194" y="1084"/>
                </a:lnTo>
                <a:lnTo>
                  <a:pt x="172" y="1062"/>
                </a:lnTo>
                <a:lnTo>
                  <a:pt x="150" y="1040"/>
                </a:lnTo>
                <a:lnTo>
                  <a:pt x="132" y="1016"/>
                </a:lnTo>
                <a:lnTo>
                  <a:pt x="114" y="990"/>
                </a:lnTo>
                <a:lnTo>
                  <a:pt x="96" y="964"/>
                </a:lnTo>
                <a:lnTo>
                  <a:pt x="80" y="938"/>
                </a:lnTo>
                <a:lnTo>
                  <a:pt x="66" y="912"/>
                </a:lnTo>
                <a:lnTo>
                  <a:pt x="54" y="884"/>
                </a:lnTo>
                <a:lnTo>
                  <a:pt x="42" y="856"/>
                </a:lnTo>
                <a:lnTo>
                  <a:pt x="32" y="828"/>
                </a:lnTo>
                <a:lnTo>
                  <a:pt x="24" y="798"/>
                </a:lnTo>
                <a:lnTo>
                  <a:pt x="16" y="770"/>
                </a:lnTo>
                <a:lnTo>
                  <a:pt x="10" y="740"/>
                </a:lnTo>
                <a:lnTo>
                  <a:pt x="6" y="710"/>
                </a:lnTo>
                <a:lnTo>
                  <a:pt x="2" y="680"/>
                </a:lnTo>
                <a:lnTo>
                  <a:pt x="0" y="650"/>
                </a:lnTo>
                <a:lnTo>
                  <a:pt x="0" y="618"/>
                </a:lnTo>
                <a:lnTo>
                  <a:pt x="2" y="588"/>
                </a:lnTo>
                <a:lnTo>
                  <a:pt x="4" y="558"/>
                </a:lnTo>
                <a:lnTo>
                  <a:pt x="8" y="528"/>
                </a:lnTo>
                <a:lnTo>
                  <a:pt x="14" y="498"/>
                </a:lnTo>
                <a:lnTo>
                  <a:pt x="22" y="468"/>
                </a:lnTo>
                <a:lnTo>
                  <a:pt x="30" y="438"/>
                </a:lnTo>
                <a:lnTo>
                  <a:pt x="40" y="408"/>
                </a:lnTo>
                <a:lnTo>
                  <a:pt x="52" y="378"/>
                </a:lnTo>
                <a:lnTo>
                  <a:pt x="66" y="350"/>
                </a:lnTo>
                <a:lnTo>
                  <a:pt x="82" y="322"/>
                </a:lnTo>
                <a:lnTo>
                  <a:pt x="98" y="294"/>
                </a:lnTo>
                <a:lnTo>
                  <a:pt x="98" y="294"/>
                </a:lnTo>
                <a:lnTo>
                  <a:pt x="124" y="254"/>
                </a:lnTo>
                <a:lnTo>
                  <a:pt x="154" y="218"/>
                </a:lnTo>
                <a:lnTo>
                  <a:pt x="186" y="184"/>
                </a:lnTo>
                <a:lnTo>
                  <a:pt x="220" y="152"/>
                </a:lnTo>
                <a:lnTo>
                  <a:pt x="256" y="124"/>
                </a:lnTo>
                <a:lnTo>
                  <a:pt x="292" y="98"/>
                </a:lnTo>
                <a:lnTo>
                  <a:pt x="332" y="76"/>
                </a:lnTo>
                <a:lnTo>
                  <a:pt x="372" y="56"/>
                </a:lnTo>
                <a:lnTo>
                  <a:pt x="414" y="38"/>
                </a:lnTo>
                <a:lnTo>
                  <a:pt x="456" y="24"/>
                </a:lnTo>
                <a:lnTo>
                  <a:pt x="500" y="14"/>
                </a:lnTo>
                <a:lnTo>
                  <a:pt x="544" y="6"/>
                </a:lnTo>
                <a:lnTo>
                  <a:pt x="588" y="2"/>
                </a:lnTo>
                <a:lnTo>
                  <a:pt x="632" y="0"/>
                </a:lnTo>
                <a:lnTo>
                  <a:pt x="678" y="2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22" y="6"/>
                </a:lnTo>
                <a:lnTo>
                  <a:pt x="730" y="54"/>
                </a:lnTo>
                <a:lnTo>
                  <a:pt x="738" y="100"/>
                </a:lnTo>
                <a:lnTo>
                  <a:pt x="750" y="146"/>
                </a:lnTo>
                <a:lnTo>
                  <a:pt x="764" y="192"/>
                </a:lnTo>
                <a:lnTo>
                  <a:pt x="780" y="238"/>
                </a:lnTo>
                <a:lnTo>
                  <a:pt x="798" y="282"/>
                </a:lnTo>
                <a:lnTo>
                  <a:pt x="820" y="324"/>
                </a:lnTo>
                <a:lnTo>
                  <a:pt x="844" y="366"/>
                </a:lnTo>
                <a:lnTo>
                  <a:pt x="870" y="406"/>
                </a:lnTo>
                <a:lnTo>
                  <a:pt x="898" y="446"/>
                </a:lnTo>
                <a:lnTo>
                  <a:pt x="930" y="484"/>
                </a:lnTo>
                <a:lnTo>
                  <a:pt x="964" y="520"/>
                </a:lnTo>
                <a:lnTo>
                  <a:pt x="1000" y="554"/>
                </a:lnTo>
                <a:lnTo>
                  <a:pt x="1038" y="588"/>
                </a:lnTo>
                <a:lnTo>
                  <a:pt x="1078" y="618"/>
                </a:lnTo>
                <a:lnTo>
                  <a:pt x="1120" y="646"/>
                </a:lnTo>
                <a:lnTo>
                  <a:pt x="1120" y="646"/>
                </a:lnTo>
                <a:lnTo>
                  <a:pt x="1158" y="670"/>
                </a:lnTo>
                <a:lnTo>
                  <a:pt x="1196" y="690"/>
                </a:lnTo>
                <a:lnTo>
                  <a:pt x="1236" y="708"/>
                </a:lnTo>
                <a:lnTo>
                  <a:pt x="1276" y="724"/>
                </a:lnTo>
                <a:lnTo>
                  <a:pt x="1316" y="738"/>
                </a:lnTo>
                <a:lnTo>
                  <a:pt x="1358" y="750"/>
                </a:lnTo>
                <a:lnTo>
                  <a:pt x="1398" y="760"/>
                </a:lnTo>
                <a:lnTo>
                  <a:pt x="1440" y="768"/>
                </a:lnTo>
                <a:lnTo>
                  <a:pt x="1480" y="774"/>
                </a:lnTo>
                <a:lnTo>
                  <a:pt x="1522" y="778"/>
                </a:lnTo>
                <a:lnTo>
                  <a:pt x="1564" y="780"/>
                </a:lnTo>
                <a:lnTo>
                  <a:pt x="1606" y="780"/>
                </a:lnTo>
                <a:lnTo>
                  <a:pt x="1646" y="776"/>
                </a:lnTo>
                <a:lnTo>
                  <a:pt x="1688" y="772"/>
                </a:lnTo>
                <a:lnTo>
                  <a:pt x="1728" y="766"/>
                </a:lnTo>
                <a:lnTo>
                  <a:pt x="1770" y="758"/>
                </a:lnTo>
                <a:lnTo>
                  <a:pt x="1810" y="748"/>
                </a:lnTo>
                <a:lnTo>
                  <a:pt x="1848" y="736"/>
                </a:lnTo>
                <a:lnTo>
                  <a:pt x="1888" y="722"/>
                </a:lnTo>
                <a:lnTo>
                  <a:pt x="1926" y="706"/>
                </a:lnTo>
                <a:lnTo>
                  <a:pt x="1964" y="690"/>
                </a:lnTo>
                <a:lnTo>
                  <a:pt x="2000" y="670"/>
                </a:lnTo>
                <a:lnTo>
                  <a:pt x="2036" y="648"/>
                </a:lnTo>
                <a:lnTo>
                  <a:pt x="2072" y="626"/>
                </a:lnTo>
                <a:lnTo>
                  <a:pt x="2106" y="600"/>
                </a:lnTo>
                <a:lnTo>
                  <a:pt x="2138" y="574"/>
                </a:lnTo>
                <a:lnTo>
                  <a:pt x="2170" y="546"/>
                </a:lnTo>
                <a:lnTo>
                  <a:pt x="2200" y="516"/>
                </a:lnTo>
                <a:lnTo>
                  <a:pt x="2230" y="484"/>
                </a:lnTo>
                <a:lnTo>
                  <a:pt x="2256" y="450"/>
                </a:lnTo>
                <a:lnTo>
                  <a:pt x="2284" y="414"/>
                </a:lnTo>
                <a:lnTo>
                  <a:pt x="2308" y="378"/>
                </a:lnTo>
                <a:lnTo>
                  <a:pt x="2308" y="378"/>
                </a:lnTo>
                <a:lnTo>
                  <a:pt x="2324" y="350"/>
                </a:lnTo>
                <a:lnTo>
                  <a:pt x="2340" y="322"/>
                </a:lnTo>
                <a:lnTo>
                  <a:pt x="2356" y="292"/>
                </a:lnTo>
                <a:lnTo>
                  <a:pt x="2368" y="262"/>
                </a:lnTo>
                <a:lnTo>
                  <a:pt x="2392" y="204"/>
                </a:lnTo>
                <a:lnTo>
                  <a:pt x="2412" y="144"/>
                </a:lnTo>
                <a:lnTo>
                  <a:pt x="2412" y="144"/>
                </a:lnTo>
                <a:lnTo>
                  <a:pt x="2414" y="178"/>
                </a:lnTo>
                <a:lnTo>
                  <a:pt x="2416" y="212"/>
                </a:lnTo>
                <a:lnTo>
                  <a:pt x="2416" y="248"/>
                </a:lnTo>
                <a:lnTo>
                  <a:pt x="2414" y="282"/>
                </a:lnTo>
                <a:lnTo>
                  <a:pt x="2412" y="318"/>
                </a:lnTo>
                <a:lnTo>
                  <a:pt x="2406" y="352"/>
                </a:lnTo>
                <a:lnTo>
                  <a:pt x="2402" y="388"/>
                </a:lnTo>
                <a:lnTo>
                  <a:pt x="2394" y="422"/>
                </a:lnTo>
                <a:lnTo>
                  <a:pt x="2386" y="456"/>
                </a:lnTo>
                <a:lnTo>
                  <a:pt x="2376" y="492"/>
                </a:lnTo>
                <a:lnTo>
                  <a:pt x="2364" y="526"/>
                </a:lnTo>
                <a:lnTo>
                  <a:pt x="2350" y="560"/>
                </a:lnTo>
                <a:lnTo>
                  <a:pt x="2336" y="592"/>
                </a:lnTo>
                <a:lnTo>
                  <a:pt x="2320" y="626"/>
                </a:lnTo>
                <a:lnTo>
                  <a:pt x="2302" y="658"/>
                </a:lnTo>
                <a:lnTo>
                  <a:pt x="2282" y="690"/>
                </a:lnTo>
                <a:lnTo>
                  <a:pt x="2282" y="69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7" name="Freeform 9">
            <a:extLst>
              <a:ext uri="{FF2B5EF4-FFF2-40B4-BE49-F238E27FC236}">
                <a16:creationId xmlns:a16="http://schemas.microsoft.com/office/drawing/2014/main" id="{FB7ADE54-A0C6-776B-757F-713E9C7A49B3}"/>
              </a:ext>
            </a:extLst>
          </p:cNvPr>
          <p:cNvSpPr>
            <a:spLocks/>
          </p:cNvSpPr>
          <p:nvPr/>
        </p:nvSpPr>
        <p:spPr bwMode="auto">
          <a:xfrm>
            <a:off x="1311376" y="1858421"/>
            <a:ext cx="2023404" cy="2665146"/>
          </a:xfrm>
          <a:custGeom>
            <a:avLst/>
            <a:gdLst>
              <a:gd name="T0" fmla="*/ 1050 w 1690"/>
              <a:gd name="T1" fmla="*/ 2184 h 2226"/>
              <a:gd name="T2" fmla="*/ 900 w 1690"/>
              <a:gd name="T3" fmla="*/ 2118 h 2226"/>
              <a:gd name="T4" fmla="*/ 768 w 1690"/>
              <a:gd name="T5" fmla="*/ 2026 h 2226"/>
              <a:gd name="T6" fmla="*/ 656 w 1690"/>
              <a:gd name="T7" fmla="*/ 1914 h 2226"/>
              <a:gd name="T8" fmla="*/ 566 w 1690"/>
              <a:gd name="T9" fmla="*/ 1784 h 2226"/>
              <a:gd name="T10" fmla="*/ 502 w 1690"/>
              <a:gd name="T11" fmla="*/ 1640 h 2226"/>
              <a:gd name="T12" fmla="*/ 466 w 1690"/>
              <a:gd name="T13" fmla="*/ 1484 h 2226"/>
              <a:gd name="T14" fmla="*/ 458 w 1690"/>
              <a:gd name="T15" fmla="*/ 1322 h 2226"/>
              <a:gd name="T16" fmla="*/ 436 w 1690"/>
              <a:gd name="T17" fmla="*/ 1230 h 2226"/>
              <a:gd name="T18" fmla="*/ 324 w 1690"/>
              <a:gd name="T19" fmla="*/ 1182 h 2226"/>
              <a:gd name="T20" fmla="*/ 226 w 1690"/>
              <a:gd name="T21" fmla="*/ 1114 h 2226"/>
              <a:gd name="T22" fmla="*/ 142 w 1690"/>
              <a:gd name="T23" fmla="*/ 1030 h 2226"/>
              <a:gd name="T24" fmla="*/ 76 w 1690"/>
              <a:gd name="T25" fmla="*/ 932 h 2226"/>
              <a:gd name="T26" fmla="*/ 30 w 1690"/>
              <a:gd name="T27" fmla="*/ 824 h 2226"/>
              <a:gd name="T28" fmla="*/ 4 w 1690"/>
              <a:gd name="T29" fmla="*/ 708 h 2226"/>
              <a:gd name="T30" fmla="*/ 0 w 1690"/>
              <a:gd name="T31" fmla="*/ 586 h 2226"/>
              <a:gd name="T32" fmla="*/ 14 w 1690"/>
              <a:gd name="T33" fmla="*/ 494 h 2226"/>
              <a:gd name="T34" fmla="*/ 54 w 1690"/>
              <a:gd name="T35" fmla="*/ 372 h 2226"/>
              <a:gd name="T36" fmla="*/ 116 w 1690"/>
              <a:gd name="T37" fmla="*/ 266 h 2226"/>
              <a:gd name="T38" fmla="*/ 196 w 1690"/>
              <a:gd name="T39" fmla="*/ 174 h 2226"/>
              <a:gd name="T40" fmla="*/ 290 w 1690"/>
              <a:gd name="T41" fmla="*/ 100 h 2226"/>
              <a:gd name="T42" fmla="*/ 398 w 1690"/>
              <a:gd name="T43" fmla="*/ 44 h 2226"/>
              <a:gd name="T44" fmla="*/ 516 w 1690"/>
              <a:gd name="T45" fmla="*/ 10 h 2226"/>
              <a:gd name="T46" fmla="*/ 640 w 1690"/>
              <a:gd name="T47" fmla="*/ 0 h 2226"/>
              <a:gd name="T48" fmla="*/ 766 w 1690"/>
              <a:gd name="T49" fmla="*/ 16 h 2226"/>
              <a:gd name="T50" fmla="*/ 900 w 1690"/>
              <a:gd name="T51" fmla="*/ 62 h 2226"/>
              <a:gd name="T52" fmla="*/ 1050 w 1690"/>
              <a:gd name="T53" fmla="*/ 162 h 2226"/>
              <a:gd name="T54" fmla="*/ 1164 w 1690"/>
              <a:gd name="T55" fmla="*/ 298 h 2226"/>
              <a:gd name="T56" fmla="*/ 1236 w 1690"/>
              <a:gd name="T57" fmla="*/ 462 h 2226"/>
              <a:gd name="T58" fmla="*/ 1248 w 1690"/>
              <a:gd name="T59" fmla="*/ 506 h 2226"/>
              <a:gd name="T60" fmla="*/ 1086 w 1690"/>
              <a:gd name="T61" fmla="*/ 608 h 2226"/>
              <a:gd name="T62" fmla="*/ 950 w 1690"/>
              <a:gd name="T63" fmla="*/ 742 h 2226"/>
              <a:gd name="T64" fmla="*/ 846 w 1690"/>
              <a:gd name="T65" fmla="*/ 906 h 2226"/>
              <a:gd name="T66" fmla="*/ 780 w 1690"/>
              <a:gd name="T67" fmla="*/ 1096 h 2226"/>
              <a:gd name="T68" fmla="*/ 760 w 1690"/>
              <a:gd name="T69" fmla="*/ 1226 h 2226"/>
              <a:gd name="T70" fmla="*/ 766 w 1690"/>
              <a:gd name="T71" fmla="*/ 1396 h 2226"/>
              <a:gd name="T72" fmla="*/ 804 w 1690"/>
              <a:gd name="T73" fmla="*/ 1560 h 2226"/>
              <a:gd name="T74" fmla="*/ 872 w 1690"/>
              <a:gd name="T75" fmla="*/ 1710 h 2226"/>
              <a:gd name="T76" fmla="*/ 968 w 1690"/>
              <a:gd name="T77" fmla="*/ 1846 h 2226"/>
              <a:gd name="T78" fmla="*/ 1088 w 1690"/>
              <a:gd name="T79" fmla="*/ 1960 h 2226"/>
              <a:gd name="T80" fmla="*/ 1230 w 1690"/>
              <a:gd name="T81" fmla="*/ 2050 h 2226"/>
              <a:gd name="T82" fmla="*/ 1390 w 1690"/>
              <a:gd name="T83" fmla="*/ 2114 h 2226"/>
              <a:gd name="T84" fmla="*/ 1498 w 1690"/>
              <a:gd name="T85" fmla="*/ 2136 h 2226"/>
              <a:gd name="T86" fmla="*/ 1690 w 1690"/>
              <a:gd name="T87" fmla="*/ 2142 h 2226"/>
              <a:gd name="T88" fmla="*/ 1592 w 1690"/>
              <a:gd name="T89" fmla="*/ 2182 h 2226"/>
              <a:gd name="T90" fmla="*/ 1456 w 1690"/>
              <a:gd name="T91" fmla="*/ 2214 h 2226"/>
              <a:gd name="T92" fmla="*/ 1314 w 1690"/>
              <a:gd name="T93" fmla="*/ 2226 h 2226"/>
              <a:gd name="T94" fmla="*/ 1168 w 1690"/>
              <a:gd name="T95" fmla="*/ 2212 h 2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90" h="2226">
                <a:moveTo>
                  <a:pt x="1132" y="2206"/>
                </a:moveTo>
                <a:lnTo>
                  <a:pt x="1132" y="2206"/>
                </a:lnTo>
                <a:lnTo>
                  <a:pt x="1090" y="2196"/>
                </a:lnTo>
                <a:lnTo>
                  <a:pt x="1050" y="2184"/>
                </a:lnTo>
                <a:lnTo>
                  <a:pt x="1010" y="2170"/>
                </a:lnTo>
                <a:lnTo>
                  <a:pt x="972" y="2154"/>
                </a:lnTo>
                <a:lnTo>
                  <a:pt x="936" y="2136"/>
                </a:lnTo>
                <a:lnTo>
                  <a:pt x="900" y="2118"/>
                </a:lnTo>
                <a:lnTo>
                  <a:pt x="864" y="2098"/>
                </a:lnTo>
                <a:lnTo>
                  <a:pt x="830" y="2076"/>
                </a:lnTo>
                <a:lnTo>
                  <a:pt x="798" y="2052"/>
                </a:lnTo>
                <a:lnTo>
                  <a:pt x="768" y="2026"/>
                </a:lnTo>
                <a:lnTo>
                  <a:pt x="738" y="2000"/>
                </a:lnTo>
                <a:lnTo>
                  <a:pt x="708" y="1974"/>
                </a:lnTo>
                <a:lnTo>
                  <a:pt x="682" y="1944"/>
                </a:lnTo>
                <a:lnTo>
                  <a:pt x="656" y="1914"/>
                </a:lnTo>
                <a:lnTo>
                  <a:pt x="630" y="1884"/>
                </a:lnTo>
                <a:lnTo>
                  <a:pt x="608" y="1852"/>
                </a:lnTo>
                <a:lnTo>
                  <a:pt x="586" y="1818"/>
                </a:lnTo>
                <a:lnTo>
                  <a:pt x="566" y="1784"/>
                </a:lnTo>
                <a:lnTo>
                  <a:pt x="548" y="1750"/>
                </a:lnTo>
                <a:lnTo>
                  <a:pt x="530" y="1714"/>
                </a:lnTo>
                <a:lnTo>
                  <a:pt x="516" y="1676"/>
                </a:lnTo>
                <a:lnTo>
                  <a:pt x="502" y="1640"/>
                </a:lnTo>
                <a:lnTo>
                  <a:pt x="490" y="1602"/>
                </a:lnTo>
                <a:lnTo>
                  <a:pt x="480" y="1564"/>
                </a:lnTo>
                <a:lnTo>
                  <a:pt x="472" y="1524"/>
                </a:lnTo>
                <a:lnTo>
                  <a:pt x="466" y="1484"/>
                </a:lnTo>
                <a:lnTo>
                  <a:pt x="460" y="1444"/>
                </a:lnTo>
                <a:lnTo>
                  <a:pt x="458" y="1404"/>
                </a:lnTo>
                <a:lnTo>
                  <a:pt x="456" y="1362"/>
                </a:lnTo>
                <a:lnTo>
                  <a:pt x="458" y="1322"/>
                </a:lnTo>
                <a:lnTo>
                  <a:pt x="462" y="1280"/>
                </a:lnTo>
                <a:lnTo>
                  <a:pt x="466" y="1240"/>
                </a:lnTo>
                <a:lnTo>
                  <a:pt x="466" y="1240"/>
                </a:lnTo>
                <a:lnTo>
                  <a:pt x="436" y="1230"/>
                </a:lnTo>
                <a:lnTo>
                  <a:pt x="406" y="1220"/>
                </a:lnTo>
                <a:lnTo>
                  <a:pt x="378" y="1208"/>
                </a:lnTo>
                <a:lnTo>
                  <a:pt x="350" y="1196"/>
                </a:lnTo>
                <a:lnTo>
                  <a:pt x="324" y="1182"/>
                </a:lnTo>
                <a:lnTo>
                  <a:pt x="298" y="1166"/>
                </a:lnTo>
                <a:lnTo>
                  <a:pt x="272" y="1150"/>
                </a:lnTo>
                <a:lnTo>
                  <a:pt x="248" y="1132"/>
                </a:lnTo>
                <a:lnTo>
                  <a:pt x="226" y="1114"/>
                </a:lnTo>
                <a:lnTo>
                  <a:pt x="202" y="1094"/>
                </a:lnTo>
                <a:lnTo>
                  <a:pt x="182" y="1074"/>
                </a:lnTo>
                <a:lnTo>
                  <a:pt x="162" y="1052"/>
                </a:lnTo>
                <a:lnTo>
                  <a:pt x="142" y="1030"/>
                </a:lnTo>
                <a:lnTo>
                  <a:pt x="124" y="1006"/>
                </a:lnTo>
                <a:lnTo>
                  <a:pt x="106" y="982"/>
                </a:lnTo>
                <a:lnTo>
                  <a:pt x="92" y="958"/>
                </a:lnTo>
                <a:lnTo>
                  <a:pt x="76" y="932"/>
                </a:lnTo>
                <a:lnTo>
                  <a:pt x="62" y="906"/>
                </a:lnTo>
                <a:lnTo>
                  <a:pt x="50" y="880"/>
                </a:lnTo>
                <a:lnTo>
                  <a:pt x="40" y="852"/>
                </a:lnTo>
                <a:lnTo>
                  <a:pt x="30" y="824"/>
                </a:lnTo>
                <a:lnTo>
                  <a:pt x="22" y="796"/>
                </a:lnTo>
                <a:lnTo>
                  <a:pt x="14" y="768"/>
                </a:lnTo>
                <a:lnTo>
                  <a:pt x="8" y="738"/>
                </a:lnTo>
                <a:lnTo>
                  <a:pt x="4" y="708"/>
                </a:lnTo>
                <a:lnTo>
                  <a:pt x="0" y="678"/>
                </a:lnTo>
                <a:lnTo>
                  <a:pt x="0" y="648"/>
                </a:lnTo>
                <a:lnTo>
                  <a:pt x="0" y="618"/>
                </a:lnTo>
                <a:lnTo>
                  <a:pt x="0" y="586"/>
                </a:lnTo>
                <a:lnTo>
                  <a:pt x="4" y="556"/>
                </a:lnTo>
                <a:lnTo>
                  <a:pt x="8" y="526"/>
                </a:lnTo>
                <a:lnTo>
                  <a:pt x="14" y="494"/>
                </a:lnTo>
                <a:lnTo>
                  <a:pt x="14" y="494"/>
                </a:lnTo>
                <a:lnTo>
                  <a:pt x="22" y="462"/>
                </a:lnTo>
                <a:lnTo>
                  <a:pt x="32" y="432"/>
                </a:lnTo>
                <a:lnTo>
                  <a:pt x="42" y="402"/>
                </a:lnTo>
                <a:lnTo>
                  <a:pt x="54" y="372"/>
                </a:lnTo>
                <a:lnTo>
                  <a:pt x="68" y="344"/>
                </a:lnTo>
                <a:lnTo>
                  <a:pt x="82" y="318"/>
                </a:lnTo>
                <a:lnTo>
                  <a:pt x="98" y="290"/>
                </a:lnTo>
                <a:lnTo>
                  <a:pt x="116" y="266"/>
                </a:lnTo>
                <a:lnTo>
                  <a:pt x="134" y="240"/>
                </a:lnTo>
                <a:lnTo>
                  <a:pt x="154" y="218"/>
                </a:lnTo>
                <a:lnTo>
                  <a:pt x="174" y="194"/>
                </a:lnTo>
                <a:lnTo>
                  <a:pt x="196" y="174"/>
                </a:lnTo>
                <a:lnTo>
                  <a:pt x="218" y="154"/>
                </a:lnTo>
                <a:lnTo>
                  <a:pt x="242" y="134"/>
                </a:lnTo>
                <a:lnTo>
                  <a:pt x="266" y="116"/>
                </a:lnTo>
                <a:lnTo>
                  <a:pt x="290" y="100"/>
                </a:lnTo>
                <a:lnTo>
                  <a:pt x="316" y="84"/>
                </a:lnTo>
                <a:lnTo>
                  <a:pt x="344" y="70"/>
                </a:lnTo>
                <a:lnTo>
                  <a:pt x="370" y="56"/>
                </a:lnTo>
                <a:lnTo>
                  <a:pt x="398" y="44"/>
                </a:lnTo>
                <a:lnTo>
                  <a:pt x="428" y="34"/>
                </a:lnTo>
                <a:lnTo>
                  <a:pt x="456" y="24"/>
                </a:lnTo>
                <a:lnTo>
                  <a:pt x="486" y="16"/>
                </a:lnTo>
                <a:lnTo>
                  <a:pt x="516" y="10"/>
                </a:lnTo>
                <a:lnTo>
                  <a:pt x="546" y="6"/>
                </a:lnTo>
                <a:lnTo>
                  <a:pt x="576" y="2"/>
                </a:lnTo>
                <a:lnTo>
                  <a:pt x="608" y="0"/>
                </a:lnTo>
                <a:lnTo>
                  <a:pt x="640" y="0"/>
                </a:lnTo>
                <a:lnTo>
                  <a:pt x="670" y="2"/>
                </a:lnTo>
                <a:lnTo>
                  <a:pt x="702" y="4"/>
                </a:lnTo>
                <a:lnTo>
                  <a:pt x="734" y="10"/>
                </a:lnTo>
                <a:lnTo>
                  <a:pt x="766" y="16"/>
                </a:lnTo>
                <a:lnTo>
                  <a:pt x="766" y="16"/>
                </a:lnTo>
                <a:lnTo>
                  <a:pt x="812" y="28"/>
                </a:lnTo>
                <a:lnTo>
                  <a:pt x="856" y="42"/>
                </a:lnTo>
                <a:lnTo>
                  <a:pt x="900" y="62"/>
                </a:lnTo>
                <a:lnTo>
                  <a:pt x="940" y="82"/>
                </a:lnTo>
                <a:lnTo>
                  <a:pt x="980" y="106"/>
                </a:lnTo>
                <a:lnTo>
                  <a:pt x="1016" y="132"/>
                </a:lnTo>
                <a:lnTo>
                  <a:pt x="1050" y="162"/>
                </a:lnTo>
                <a:lnTo>
                  <a:pt x="1082" y="192"/>
                </a:lnTo>
                <a:lnTo>
                  <a:pt x="1112" y="226"/>
                </a:lnTo>
                <a:lnTo>
                  <a:pt x="1140" y="262"/>
                </a:lnTo>
                <a:lnTo>
                  <a:pt x="1164" y="298"/>
                </a:lnTo>
                <a:lnTo>
                  <a:pt x="1188" y="338"/>
                </a:lnTo>
                <a:lnTo>
                  <a:pt x="1206" y="378"/>
                </a:lnTo>
                <a:lnTo>
                  <a:pt x="1224" y="420"/>
                </a:lnTo>
                <a:lnTo>
                  <a:pt x="1236" y="462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48" y="506"/>
                </a:lnTo>
                <a:lnTo>
                  <a:pt x="1206" y="528"/>
                </a:lnTo>
                <a:lnTo>
                  <a:pt x="1164" y="552"/>
                </a:lnTo>
                <a:lnTo>
                  <a:pt x="1124" y="578"/>
                </a:lnTo>
                <a:lnTo>
                  <a:pt x="1086" y="608"/>
                </a:lnTo>
                <a:lnTo>
                  <a:pt x="1050" y="638"/>
                </a:lnTo>
                <a:lnTo>
                  <a:pt x="1014" y="670"/>
                </a:lnTo>
                <a:lnTo>
                  <a:pt x="982" y="706"/>
                </a:lnTo>
                <a:lnTo>
                  <a:pt x="950" y="742"/>
                </a:lnTo>
                <a:lnTo>
                  <a:pt x="920" y="780"/>
                </a:lnTo>
                <a:lnTo>
                  <a:pt x="894" y="820"/>
                </a:lnTo>
                <a:lnTo>
                  <a:pt x="868" y="862"/>
                </a:lnTo>
                <a:lnTo>
                  <a:pt x="846" y="906"/>
                </a:lnTo>
                <a:lnTo>
                  <a:pt x="826" y="952"/>
                </a:lnTo>
                <a:lnTo>
                  <a:pt x="808" y="998"/>
                </a:lnTo>
                <a:lnTo>
                  <a:pt x="792" y="1046"/>
                </a:lnTo>
                <a:lnTo>
                  <a:pt x="780" y="1096"/>
                </a:lnTo>
                <a:lnTo>
                  <a:pt x="780" y="1096"/>
                </a:lnTo>
                <a:lnTo>
                  <a:pt x="770" y="1140"/>
                </a:lnTo>
                <a:lnTo>
                  <a:pt x="764" y="1184"/>
                </a:lnTo>
                <a:lnTo>
                  <a:pt x="760" y="1226"/>
                </a:lnTo>
                <a:lnTo>
                  <a:pt x="758" y="1270"/>
                </a:lnTo>
                <a:lnTo>
                  <a:pt x="760" y="1312"/>
                </a:lnTo>
                <a:lnTo>
                  <a:pt x="762" y="1354"/>
                </a:lnTo>
                <a:lnTo>
                  <a:pt x="766" y="1396"/>
                </a:lnTo>
                <a:lnTo>
                  <a:pt x="772" y="1438"/>
                </a:lnTo>
                <a:lnTo>
                  <a:pt x="782" y="1480"/>
                </a:lnTo>
                <a:lnTo>
                  <a:pt x="792" y="1520"/>
                </a:lnTo>
                <a:lnTo>
                  <a:pt x="804" y="1560"/>
                </a:lnTo>
                <a:lnTo>
                  <a:pt x="818" y="1598"/>
                </a:lnTo>
                <a:lnTo>
                  <a:pt x="834" y="1636"/>
                </a:lnTo>
                <a:lnTo>
                  <a:pt x="852" y="1674"/>
                </a:lnTo>
                <a:lnTo>
                  <a:pt x="872" y="1710"/>
                </a:lnTo>
                <a:lnTo>
                  <a:pt x="894" y="1746"/>
                </a:lnTo>
                <a:lnTo>
                  <a:pt x="916" y="1780"/>
                </a:lnTo>
                <a:lnTo>
                  <a:pt x="942" y="1814"/>
                </a:lnTo>
                <a:lnTo>
                  <a:pt x="968" y="1846"/>
                </a:lnTo>
                <a:lnTo>
                  <a:pt x="996" y="1876"/>
                </a:lnTo>
                <a:lnTo>
                  <a:pt x="1024" y="1906"/>
                </a:lnTo>
                <a:lnTo>
                  <a:pt x="1056" y="1934"/>
                </a:lnTo>
                <a:lnTo>
                  <a:pt x="1088" y="1960"/>
                </a:lnTo>
                <a:lnTo>
                  <a:pt x="1120" y="1986"/>
                </a:lnTo>
                <a:lnTo>
                  <a:pt x="1156" y="2008"/>
                </a:lnTo>
                <a:lnTo>
                  <a:pt x="1192" y="2030"/>
                </a:lnTo>
                <a:lnTo>
                  <a:pt x="1230" y="2050"/>
                </a:lnTo>
                <a:lnTo>
                  <a:pt x="1268" y="2070"/>
                </a:lnTo>
                <a:lnTo>
                  <a:pt x="1308" y="2086"/>
                </a:lnTo>
                <a:lnTo>
                  <a:pt x="1348" y="2100"/>
                </a:lnTo>
                <a:lnTo>
                  <a:pt x="1390" y="2114"/>
                </a:lnTo>
                <a:lnTo>
                  <a:pt x="1434" y="2124"/>
                </a:lnTo>
                <a:lnTo>
                  <a:pt x="1434" y="2124"/>
                </a:lnTo>
                <a:lnTo>
                  <a:pt x="1466" y="2130"/>
                </a:lnTo>
                <a:lnTo>
                  <a:pt x="1498" y="2136"/>
                </a:lnTo>
                <a:lnTo>
                  <a:pt x="1530" y="2140"/>
                </a:lnTo>
                <a:lnTo>
                  <a:pt x="1562" y="2142"/>
                </a:lnTo>
                <a:lnTo>
                  <a:pt x="1626" y="2144"/>
                </a:lnTo>
                <a:lnTo>
                  <a:pt x="1690" y="2142"/>
                </a:lnTo>
                <a:lnTo>
                  <a:pt x="1690" y="2142"/>
                </a:lnTo>
                <a:lnTo>
                  <a:pt x="1658" y="2156"/>
                </a:lnTo>
                <a:lnTo>
                  <a:pt x="1626" y="2170"/>
                </a:lnTo>
                <a:lnTo>
                  <a:pt x="1592" y="2182"/>
                </a:lnTo>
                <a:lnTo>
                  <a:pt x="1560" y="2192"/>
                </a:lnTo>
                <a:lnTo>
                  <a:pt x="1526" y="2200"/>
                </a:lnTo>
                <a:lnTo>
                  <a:pt x="1490" y="2208"/>
                </a:lnTo>
                <a:lnTo>
                  <a:pt x="1456" y="2214"/>
                </a:lnTo>
                <a:lnTo>
                  <a:pt x="1422" y="2220"/>
                </a:lnTo>
                <a:lnTo>
                  <a:pt x="1386" y="2224"/>
                </a:lnTo>
                <a:lnTo>
                  <a:pt x="1350" y="2226"/>
                </a:lnTo>
                <a:lnTo>
                  <a:pt x="1314" y="2226"/>
                </a:lnTo>
                <a:lnTo>
                  <a:pt x="1278" y="2226"/>
                </a:lnTo>
                <a:lnTo>
                  <a:pt x="1242" y="2222"/>
                </a:lnTo>
                <a:lnTo>
                  <a:pt x="1204" y="2218"/>
                </a:lnTo>
                <a:lnTo>
                  <a:pt x="1168" y="2212"/>
                </a:lnTo>
                <a:lnTo>
                  <a:pt x="1132" y="2206"/>
                </a:lnTo>
                <a:lnTo>
                  <a:pt x="1132" y="2206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8" name="1 Título">
            <a:extLst>
              <a:ext uri="{FF2B5EF4-FFF2-40B4-BE49-F238E27FC236}">
                <a16:creationId xmlns:a16="http://schemas.microsoft.com/office/drawing/2014/main" id="{403C2B2C-8D23-546E-FC91-BB6912E92A7C}"/>
              </a:ext>
            </a:extLst>
          </p:cNvPr>
          <p:cNvSpPr txBox="1">
            <a:spLocks/>
          </p:cNvSpPr>
          <p:nvPr/>
        </p:nvSpPr>
        <p:spPr>
          <a:xfrm>
            <a:off x="1393197" y="2234932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marL="0" marR="0" lvl="0" indent="0" algn="ctr" defTabSz="102393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ea typeface="+mj-ea"/>
                <a:cs typeface="+mj-cs"/>
              </a:rPr>
              <a:t>Enter Text Her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ea typeface="+mj-ea"/>
              <a:cs typeface="+mj-cs"/>
            </a:endParaRPr>
          </a:p>
        </p:txBody>
      </p:sp>
      <p:sp>
        <p:nvSpPr>
          <p:cNvPr id="29" name="1 Título">
            <a:extLst>
              <a:ext uri="{FF2B5EF4-FFF2-40B4-BE49-F238E27FC236}">
                <a16:creationId xmlns:a16="http://schemas.microsoft.com/office/drawing/2014/main" id="{31DBA5D1-A9B5-51E6-4F10-085238854DE5}"/>
              </a:ext>
            </a:extLst>
          </p:cNvPr>
          <p:cNvSpPr txBox="1">
            <a:spLocks/>
          </p:cNvSpPr>
          <p:nvPr/>
        </p:nvSpPr>
        <p:spPr>
          <a:xfrm>
            <a:off x="3412406" y="2075022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+mj-ea"/>
                <a:cs typeface="+mj-cs"/>
              </a:rPr>
              <a:t>Enter Text Here</a:t>
            </a:r>
          </a:p>
        </p:txBody>
      </p:sp>
      <p:sp>
        <p:nvSpPr>
          <p:cNvPr id="30" name="1 Título">
            <a:extLst>
              <a:ext uri="{FF2B5EF4-FFF2-40B4-BE49-F238E27FC236}">
                <a16:creationId xmlns:a16="http://schemas.microsoft.com/office/drawing/2014/main" id="{2B7A7388-31B4-362D-E227-7CFDFF9FE902}"/>
              </a:ext>
            </a:extLst>
          </p:cNvPr>
          <p:cNvSpPr txBox="1">
            <a:spLocks/>
          </p:cNvSpPr>
          <p:nvPr/>
        </p:nvSpPr>
        <p:spPr>
          <a:xfrm>
            <a:off x="4204005" y="3984508"/>
            <a:ext cx="1090726" cy="594539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1" name="1 Título">
            <a:extLst>
              <a:ext uri="{FF2B5EF4-FFF2-40B4-BE49-F238E27FC236}">
                <a16:creationId xmlns:a16="http://schemas.microsoft.com/office/drawing/2014/main" id="{4B4A3FC6-0D50-15BE-955B-0E704F2E4EFE}"/>
              </a:ext>
            </a:extLst>
          </p:cNvPr>
          <p:cNvSpPr txBox="1">
            <a:spLocks/>
          </p:cNvSpPr>
          <p:nvPr/>
        </p:nvSpPr>
        <p:spPr>
          <a:xfrm>
            <a:off x="2544079" y="5325251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2" name="1 Título">
            <a:extLst>
              <a:ext uri="{FF2B5EF4-FFF2-40B4-BE49-F238E27FC236}">
                <a16:creationId xmlns:a16="http://schemas.microsoft.com/office/drawing/2014/main" id="{AEFBFDE8-857A-A3CE-B386-AC203AB1587E}"/>
              </a:ext>
            </a:extLst>
          </p:cNvPr>
          <p:cNvSpPr txBox="1">
            <a:spLocks/>
          </p:cNvSpPr>
          <p:nvPr/>
        </p:nvSpPr>
        <p:spPr>
          <a:xfrm>
            <a:off x="1045028" y="4284658"/>
            <a:ext cx="1137243" cy="547866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t">
            <a:noAutofit/>
          </a:bodyPr>
          <a:lstStyle/>
          <a:p>
            <a:pPr lvl="0" algn="ctr" defTabSz="1023935">
              <a:spcBef>
                <a:spcPct val="0"/>
              </a:spcBef>
              <a:defRPr/>
            </a:pPr>
            <a:r>
              <a:rPr lang="es-ES" sz="1400" dirty="0">
                <a:solidFill>
                  <a:schemeClr val="bg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ter Text Here</a:t>
            </a:r>
            <a:endParaRPr lang="en-US" sz="1400" dirty="0">
              <a:solidFill>
                <a:schemeClr val="bg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4" name="1 Título">
            <a:extLst>
              <a:ext uri="{FF2B5EF4-FFF2-40B4-BE49-F238E27FC236}">
                <a16:creationId xmlns:a16="http://schemas.microsoft.com/office/drawing/2014/main" id="{4A023445-F977-82A6-847B-16D2EC11ECD1}"/>
              </a:ext>
            </a:extLst>
          </p:cNvPr>
          <p:cNvSpPr txBox="1">
            <a:spLocks/>
          </p:cNvSpPr>
          <p:nvPr/>
        </p:nvSpPr>
        <p:spPr>
          <a:xfrm>
            <a:off x="2476574" y="3357559"/>
            <a:ext cx="1280288" cy="733341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102393" tIns="51197" rIns="102393" bIns="51197" rtlCol="0" anchor="ctr">
            <a:noAutofit/>
          </a:bodyPr>
          <a:lstStyle/>
          <a:p>
            <a:pPr marL="0" marR="0" lvl="0" indent="0" algn="ctr" defTabSz="102393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>
                <a:solidFill>
                  <a:schemeClr val="bg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rPr>
              <a:t>TEX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ea typeface="+mj-ea"/>
              <a:cs typeface="+mj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D9A46BC-8AFE-49A9-5A7B-87BCB830D687}"/>
              </a:ext>
            </a:extLst>
          </p:cNvPr>
          <p:cNvSpPr/>
          <p:nvPr/>
        </p:nvSpPr>
        <p:spPr>
          <a:xfrm>
            <a:off x="6111071" y="2040653"/>
            <a:ext cx="475085" cy="388557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B91BFC2-32FB-6B2A-C22F-CDEB5D897ADF}"/>
              </a:ext>
            </a:extLst>
          </p:cNvPr>
          <p:cNvSpPr/>
          <p:nvPr/>
        </p:nvSpPr>
        <p:spPr>
          <a:xfrm>
            <a:off x="6111071" y="2866808"/>
            <a:ext cx="475085" cy="388557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4462BC-9AF2-6CBA-C8E9-E7ACAF348B50}"/>
              </a:ext>
            </a:extLst>
          </p:cNvPr>
          <p:cNvSpPr/>
          <p:nvPr/>
        </p:nvSpPr>
        <p:spPr>
          <a:xfrm>
            <a:off x="6111071" y="3692963"/>
            <a:ext cx="475085" cy="388557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C3225B1-618D-1AEA-4D53-2475E1F24663}"/>
              </a:ext>
            </a:extLst>
          </p:cNvPr>
          <p:cNvSpPr/>
          <p:nvPr/>
        </p:nvSpPr>
        <p:spPr>
          <a:xfrm>
            <a:off x="6111071" y="4519118"/>
            <a:ext cx="475085" cy="388557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A450F80-D31D-7F36-7CFC-E764DB96EDA6}"/>
              </a:ext>
            </a:extLst>
          </p:cNvPr>
          <p:cNvSpPr/>
          <p:nvPr/>
        </p:nvSpPr>
        <p:spPr>
          <a:xfrm>
            <a:off x="6111071" y="5345273"/>
            <a:ext cx="475085" cy="388557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B2C7A4-0AA6-3907-53B7-0E22D82D9094}"/>
              </a:ext>
            </a:extLst>
          </p:cNvPr>
          <p:cNvSpPr txBox="1"/>
          <p:nvPr/>
        </p:nvSpPr>
        <p:spPr>
          <a:xfrm>
            <a:off x="6775247" y="1943702"/>
            <a:ext cx="4458811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0B912B-A218-581C-3E72-A18AB792193D}"/>
              </a:ext>
            </a:extLst>
          </p:cNvPr>
          <p:cNvSpPr txBox="1">
            <a:spLocks/>
          </p:cNvSpPr>
          <p:nvPr/>
        </p:nvSpPr>
        <p:spPr>
          <a:xfrm>
            <a:off x="6775248" y="2769857"/>
            <a:ext cx="4458811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AAE550-971B-B90E-E357-E04A79039E0F}"/>
              </a:ext>
            </a:extLst>
          </p:cNvPr>
          <p:cNvSpPr txBox="1">
            <a:spLocks/>
          </p:cNvSpPr>
          <p:nvPr/>
        </p:nvSpPr>
        <p:spPr>
          <a:xfrm>
            <a:off x="6775248" y="3596012"/>
            <a:ext cx="4458811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D26CB4F-BB46-7E64-547C-DBAA5D63391F}"/>
              </a:ext>
            </a:extLst>
          </p:cNvPr>
          <p:cNvSpPr txBox="1">
            <a:spLocks/>
          </p:cNvSpPr>
          <p:nvPr/>
        </p:nvSpPr>
        <p:spPr>
          <a:xfrm>
            <a:off x="6775248" y="4422167"/>
            <a:ext cx="4458811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B44D71-62A0-EF5B-D6FC-6A5AE07D11B3}"/>
              </a:ext>
            </a:extLst>
          </p:cNvPr>
          <p:cNvSpPr txBox="1">
            <a:spLocks/>
          </p:cNvSpPr>
          <p:nvPr/>
        </p:nvSpPr>
        <p:spPr>
          <a:xfrm>
            <a:off x="6775248" y="5248322"/>
            <a:ext cx="4458811" cy="582460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4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016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cxnSp>
        <p:nvCxnSpPr>
          <p:cNvPr id="3" name="Google Shape;1614;p45">
            <a:extLst>
              <a:ext uri="{FF2B5EF4-FFF2-40B4-BE49-F238E27FC236}">
                <a16:creationId xmlns:a16="http://schemas.microsoft.com/office/drawing/2014/main" id="{28D70FB5-8BA8-FA82-1845-AC3EF0444B0A}"/>
              </a:ext>
            </a:extLst>
          </p:cNvPr>
          <p:cNvCxnSpPr>
            <a:stCxn id="19" idx="1"/>
          </p:cNvCxnSpPr>
          <p:nvPr/>
        </p:nvCxnSpPr>
        <p:spPr>
          <a:xfrm rot="10800000">
            <a:off x="7922350" y="4093168"/>
            <a:ext cx="892144" cy="0"/>
          </a:xfrm>
          <a:prstGeom prst="straightConnector1">
            <a:avLst/>
          </a:prstGeom>
          <a:noFill/>
          <a:ln w="19050" cap="flat" cmpd="sng">
            <a:solidFill>
              <a:schemeClr val="tx1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18" name="Google Shape;1616;p45">
            <a:extLst>
              <a:ext uri="{FF2B5EF4-FFF2-40B4-BE49-F238E27FC236}">
                <a16:creationId xmlns:a16="http://schemas.microsoft.com/office/drawing/2014/main" id="{39251C9D-5CDF-24F1-5301-C648E2C04114}"/>
              </a:ext>
            </a:extLst>
          </p:cNvPr>
          <p:cNvSpPr txBox="1"/>
          <p:nvPr/>
        </p:nvSpPr>
        <p:spPr>
          <a:xfrm>
            <a:off x="8814494" y="4193540"/>
            <a:ext cx="2081669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19" name="Google Shape;1615;p45">
            <a:extLst>
              <a:ext uri="{FF2B5EF4-FFF2-40B4-BE49-F238E27FC236}">
                <a16:creationId xmlns:a16="http://schemas.microsoft.com/office/drawing/2014/main" id="{4EDB35F1-E613-D9DA-9BF1-88AD74A089DB}"/>
              </a:ext>
            </a:extLst>
          </p:cNvPr>
          <p:cNvSpPr txBox="1"/>
          <p:nvPr/>
        </p:nvSpPr>
        <p:spPr>
          <a:xfrm>
            <a:off x="8814494" y="3971952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0" name="Google Shape;1618;p45">
            <a:extLst>
              <a:ext uri="{FF2B5EF4-FFF2-40B4-BE49-F238E27FC236}">
                <a16:creationId xmlns:a16="http://schemas.microsoft.com/office/drawing/2014/main" id="{556E9551-672E-C900-47AA-4F5231ED46C2}"/>
              </a:ext>
            </a:extLst>
          </p:cNvPr>
          <p:cNvSpPr txBox="1"/>
          <p:nvPr/>
        </p:nvSpPr>
        <p:spPr>
          <a:xfrm>
            <a:off x="8814476" y="5576133"/>
            <a:ext cx="2081669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21" name="Google Shape;1619;p45">
            <a:extLst>
              <a:ext uri="{FF2B5EF4-FFF2-40B4-BE49-F238E27FC236}">
                <a16:creationId xmlns:a16="http://schemas.microsoft.com/office/drawing/2014/main" id="{4C9C8D11-CAC0-7AC8-D540-17D4C4AFE58F}"/>
              </a:ext>
            </a:extLst>
          </p:cNvPr>
          <p:cNvSpPr txBox="1"/>
          <p:nvPr/>
        </p:nvSpPr>
        <p:spPr>
          <a:xfrm>
            <a:off x="8814494" y="5377149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cxnSp>
        <p:nvCxnSpPr>
          <p:cNvPr id="22" name="Google Shape;1620;p45">
            <a:extLst>
              <a:ext uri="{FF2B5EF4-FFF2-40B4-BE49-F238E27FC236}">
                <a16:creationId xmlns:a16="http://schemas.microsoft.com/office/drawing/2014/main" id="{1146DC2F-1503-90B6-BAF6-9C77F4D09DF2}"/>
              </a:ext>
            </a:extLst>
          </p:cNvPr>
          <p:cNvCxnSpPr>
            <a:stCxn id="50" idx="2"/>
            <a:endCxn id="21" idx="1"/>
          </p:cNvCxnSpPr>
          <p:nvPr/>
        </p:nvCxnSpPr>
        <p:spPr>
          <a:xfrm rot="16200000">
            <a:off x="7435262" y="4163785"/>
            <a:ext cx="44649" cy="2713779"/>
          </a:xfrm>
          <a:prstGeom prst="bentConnector4">
            <a:avLst>
              <a:gd name="adj1" fmla="val -620117"/>
              <a:gd name="adj2" fmla="val 56997"/>
            </a:avLst>
          </a:prstGeom>
          <a:noFill/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diamond" w="med" len="med"/>
          </a:ln>
        </p:spPr>
      </p:cxnSp>
      <p:sp>
        <p:nvSpPr>
          <p:cNvPr id="23" name="Google Shape;1623;p45">
            <a:extLst>
              <a:ext uri="{FF2B5EF4-FFF2-40B4-BE49-F238E27FC236}">
                <a16:creationId xmlns:a16="http://schemas.microsoft.com/office/drawing/2014/main" id="{245019BD-555E-5E06-207E-2F22B896C787}"/>
              </a:ext>
            </a:extLst>
          </p:cNvPr>
          <p:cNvSpPr txBox="1"/>
          <p:nvPr/>
        </p:nvSpPr>
        <p:spPr>
          <a:xfrm>
            <a:off x="8814493" y="2788343"/>
            <a:ext cx="2081670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24" name="Google Shape;1624;p45">
            <a:extLst>
              <a:ext uri="{FF2B5EF4-FFF2-40B4-BE49-F238E27FC236}">
                <a16:creationId xmlns:a16="http://schemas.microsoft.com/office/drawing/2014/main" id="{6445E6F2-679A-553A-9472-9639704CC695}"/>
              </a:ext>
            </a:extLst>
          </p:cNvPr>
          <p:cNvSpPr txBox="1"/>
          <p:nvPr/>
        </p:nvSpPr>
        <p:spPr>
          <a:xfrm>
            <a:off x="8814493" y="2561308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cxnSp>
        <p:nvCxnSpPr>
          <p:cNvPr id="25" name="Google Shape;1625;p45">
            <a:extLst>
              <a:ext uri="{FF2B5EF4-FFF2-40B4-BE49-F238E27FC236}">
                <a16:creationId xmlns:a16="http://schemas.microsoft.com/office/drawing/2014/main" id="{62B19892-2DC4-FAE5-68FF-9E03E7ADBE3E}"/>
              </a:ext>
            </a:extLst>
          </p:cNvPr>
          <p:cNvCxnSpPr>
            <a:stCxn id="24" idx="1"/>
          </p:cNvCxnSpPr>
          <p:nvPr/>
        </p:nvCxnSpPr>
        <p:spPr>
          <a:xfrm rot="10800000">
            <a:off x="7277325" y="2682524"/>
            <a:ext cx="1537168" cy="0"/>
          </a:xfrm>
          <a:prstGeom prst="straightConnector1">
            <a:avLst/>
          </a:prstGeom>
          <a:noFill/>
          <a:ln w="19050" cap="flat" cmpd="sng">
            <a:solidFill>
              <a:schemeClr val="tx1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33" name="Google Shape;1627;p45">
            <a:extLst>
              <a:ext uri="{FF2B5EF4-FFF2-40B4-BE49-F238E27FC236}">
                <a16:creationId xmlns:a16="http://schemas.microsoft.com/office/drawing/2014/main" id="{FD3DE989-DADB-035B-A8F7-A4C07D0496BD}"/>
              </a:ext>
            </a:extLst>
          </p:cNvPr>
          <p:cNvSpPr txBox="1"/>
          <p:nvPr/>
        </p:nvSpPr>
        <p:spPr>
          <a:xfrm>
            <a:off x="1307649" y="3839137"/>
            <a:ext cx="2079226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35" name="Google Shape;1628;p45">
            <a:extLst>
              <a:ext uri="{FF2B5EF4-FFF2-40B4-BE49-F238E27FC236}">
                <a16:creationId xmlns:a16="http://schemas.microsoft.com/office/drawing/2014/main" id="{C7D980F8-1E26-A541-132F-3AD4AC8E04E5}"/>
              </a:ext>
            </a:extLst>
          </p:cNvPr>
          <p:cNvSpPr txBox="1"/>
          <p:nvPr/>
        </p:nvSpPr>
        <p:spPr>
          <a:xfrm>
            <a:off x="1307651" y="3617549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cxnSp>
        <p:nvCxnSpPr>
          <p:cNvPr id="36" name="Google Shape;1629;p45">
            <a:extLst>
              <a:ext uri="{FF2B5EF4-FFF2-40B4-BE49-F238E27FC236}">
                <a16:creationId xmlns:a16="http://schemas.microsoft.com/office/drawing/2014/main" id="{95C1307D-E979-E329-CF33-3EF4C64F2FF2}"/>
              </a:ext>
            </a:extLst>
          </p:cNvPr>
          <p:cNvCxnSpPr>
            <a:stCxn id="35" idx="3"/>
          </p:cNvCxnSpPr>
          <p:nvPr/>
        </p:nvCxnSpPr>
        <p:spPr>
          <a:xfrm>
            <a:off x="3386877" y="3738765"/>
            <a:ext cx="987083" cy="0"/>
          </a:xfrm>
          <a:prstGeom prst="straightConnector1">
            <a:avLst/>
          </a:prstGeom>
          <a:noFill/>
          <a:ln w="19050" cap="flat" cmpd="sng">
            <a:solidFill>
              <a:schemeClr val="tx1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37" name="Google Shape;1631;p45">
            <a:extLst>
              <a:ext uri="{FF2B5EF4-FFF2-40B4-BE49-F238E27FC236}">
                <a16:creationId xmlns:a16="http://schemas.microsoft.com/office/drawing/2014/main" id="{56B636C0-1207-5434-2AB5-EF9C4758D640}"/>
              </a:ext>
            </a:extLst>
          </p:cNvPr>
          <p:cNvSpPr txBox="1"/>
          <p:nvPr/>
        </p:nvSpPr>
        <p:spPr>
          <a:xfrm>
            <a:off x="1305237" y="5242607"/>
            <a:ext cx="2079226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38" name="Google Shape;1632;p45">
            <a:extLst>
              <a:ext uri="{FF2B5EF4-FFF2-40B4-BE49-F238E27FC236}">
                <a16:creationId xmlns:a16="http://schemas.microsoft.com/office/drawing/2014/main" id="{672C6D1E-0279-5F1B-7573-08FC224AE2F4}"/>
              </a:ext>
            </a:extLst>
          </p:cNvPr>
          <p:cNvSpPr txBox="1"/>
          <p:nvPr/>
        </p:nvSpPr>
        <p:spPr>
          <a:xfrm>
            <a:off x="1307651" y="5022746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cxnSp>
        <p:nvCxnSpPr>
          <p:cNvPr id="39" name="Google Shape;1633;p45">
            <a:extLst>
              <a:ext uri="{FF2B5EF4-FFF2-40B4-BE49-F238E27FC236}">
                <a16:creationId xmlns:a16="http://schemas.microsoft.com/office/drawing/2014/main" id="{D5A5230D-C276-A67E-8123-65114A501D5C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3386877" y="5143962"/>
            <a:ext cx="1441532" cy="0"/>
          </a:xfrm>
          <a:prstGeom prst="straightConnector1">
            <a:avLst/>
          </a:prstGeom>
          <a:noFill/>
          <a:ln w="19050" cap="flat" cmpd="sng">
            <a:solidFill>
              <a:schemeClr val="tx1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40" name="Google Shape;1635;p45">
            <a:extLst>
              <a:ext uri="{FF2B5EF4-FFF2-40B4-BE49-F238E27FC236}">
                <a16:creationId xmlns:a16="http://schemas.microsoft.com/office/drawing/2014/main" id="{F7B159A3-39BE-1BA8-D4FA-FF58620026E4}"/>
              </a:ext>
            </a:extLst>
          </p:cNvPr>
          <p:cNvSpPr txBox="1"/>
          <p:nvPr/>
        </p:nvSpPr>
        <p:spPr>
          <a:xfrm>
            <a:off x="1307649" y="2433940"/>
            <a:ext cx="2079226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bg2"/>
                </a:solidFill>
                <a:latin typeface="+mj-lt"/>
                <a:ea typeface="Roboto"/>
                <a:cs typeface="Roboto"/>
                <a:sym typeface="Roboto"/>
              </a:rPr>
              <a:t>Enter Text Here</a:t>
            </a:r>
            <a:endParaRPr sz="1200" dirty="0">
              <a:solidFill>
                <a:schemeClr val="bg2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sp>
        <p:nvSpPr>
          <p:cNvPr id="41" name="Google Shape;1636;p45">
            <a:extLst>
              <a:ext uri="{FF2B5EF4-FFF2-40B4-BE49-F238E27FC236}">
                <a16:creationId xmlns:a16="http://schemas.microsoft.com/office/drawing/2014/main" id="{27189C24-350E-29A0-A163-E058CC1E840E}"/>
              </a:ext>
            </a:extLst>
          </p:cNvPr>
          <p:cNvSpPr txBox="1"/>
          <p:nvPr/>
        </p:nvSpPr>
        <p:spPr>
          <a:xfrm>
            <a:off x="1307651" y="2206905"/>
            <a:ext cx="2079226" cy="242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18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cxnSp>
        <p:nvCxnSpPr>
          <p:cNvPr id="42" name="Google Shape;1637;p45">
            <a:extLst>
              <a:ext uri="{FF2B5EF4-FFF2-40B4-BE49-F238E27FC236}">
                <a16:creationId xmlns:a16="http://schemas.microsoft.com/office/drawing/2014/main" id="{85361AC2-490A-3E14-E813-54612EAFF900}"/>
              </a:ext>
            </a:extLst>
          </p:cNvPr>
          <p:cNvCxnSpPr>
            <a:cxnSpLocks/>
          </p:cNvCxnSpPr>
          <p:nvPr/>
        </p:nvCxnSpPr>
        <p:spPr>
          <a:xfrm rot="5400000" flipH="1">
            <a:off x="4721454" y="991830"/>
            <a:ext cx="44649" cy="2713779"/>
          </a:xfrm>
          <a:prstGeom prst="bentConnector4">
            <a:avLst>
              <a:gd name="adj1" fmla="val 964278"/>
              <a:gd name="adj2" fmla="val 68122"/>
            </a:avLst>
          </a:prstGeom>
          <a:noFill/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diamond" w="med" len="med"/>
          </a:ln>
        </p:spPr>
      </p:cxnSp>
      <p:sp>
        <p:nvSpPr>
          <p:cNvPr id="43" name="Google Shape;1639;p45">
            <a:extLst>
              <a:ext uri="{FF2B5EF4-FFF2-40B4-BE49-F238E27FC236}">
                <a16:creationId xmlns:a16="http://schemas.microsoft.com/office/drawing/2014/main" id="{DC4A0E80-0671-A7BC-6B9F-D13A5D9A6757}"/>
              </a:ext>
            </a:extLst>
          </p:cNvPr>
          <p:cNvSpPr/>
          <p:nvPr/>
        </p:nvSpPr>
        <p:spPr>
          <a:xfrm>
            <a:off x="6095674" y="3976679"/>
            <a:ext cx="650" cy="722"/>
          </a:xfrm>
          <a:custGeom>
            <a:avLst/>
            <a:gdLst/>
            <a:ahLst/>
            <a:cxnLst/>
            <a:rect l="l" t="t" r="r" b="b"/>
            <a:pathLst>
              <a:path w="36" h="40" extrusionOk="0">
                <a:moveTo>
                  <a:pt x="0" y="1"/>
                </a:moveTo>
                <a:lnTo>
                  <a:pt x="36" y="39"/>
                </a:lnTo>
                <a:lnTo>
                  <a:pt x="36" y="1"/>
                </a:lnTo>
                <a:close/>
              </a:path>
            </a:pathLst>
          </a:custGeom>
          <a:solidFill>
            <a:schemeClr val="accent2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44" name="Google Shape;1640;p45">
            <a:extLst>
              <a:ext uri="{FF2B5EF4-FFF2-40B4-BE49-F238E27FC236}">
                <a16:creationId xmlns:a16="http://schemas.microsoft.com/office/drawing/2014/main" id="{97318A15-D282-850C-87D0-BCA5BEAD7196}"/>
              </a:ext>
            </a:extLst>
          </p:cNvPr>
          <p:cNvSpPr/>
          <p:nvPr/>
        </p:nvSpPr>
        <p:spPr>
          <a:xfrm>
            <a:off x="6095674" y="3976679"/>
            <a:ext cx="650" cy="722"/>
          </a:xfrm>
          <a:custGeom>
            <a:avLst/>
            <a:gdLst/>
            <a:ahLst/>
            <a:cxnLst/>
            <a:rect l="l" t="t" r="r" b="b"/>
            <a:pathLst>
              <a:path w="36" h="40" extrusionOk="0">
                <a:moveTo>
                  <a:pt x="0" y="1"/>
                </a:moveTo>
                <a:lnTo>
                  <a:pt x="36" y="39"/>
                </a:lnTo>
                <a:lnTo>
                  <a:pt x="36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45" name="Google Shape;1641;p45">
            <a:extLst>
              <a:ext uri="{FF2B5EF4-FFF2-40B4-BE49-F238E27FC236}">
                <a16:creationId xmlns:a16="http://schemas.microsoft.com/office/drawing/2014/main" id="{774D0958-6B96-D562-C18B-5F52135F2CC3}"/>
              </a:ext>
            </a:extLst>
          </p:cNvPr>
          <p:cNvSpPr/>
          <p:nvPr/>
        </p:nvSpPr>
        <p:spPr>
          <a:xfrm>
            <a:off x="6488015" y="2088545"/>
            <a:ext cx="1741839" cy="2071098"/>
          </a:xfrm>
          <a:custGeom>
            <a:avLst/>
            <a:gdLst/>
            <a:ahLst/>
            <a:cxnLst/>
            <a:rect l="l" t="t" r="r" b="b"/>
            <a:pathLst>
              <a:path w="96417" h="114714" extrusionOk="0">
                <a:moveTo>
                  <a:pt x="35815" y="0"/>
                </a:moveTo>
                <a:lnTo>
                  <a:pt x="14958" y="37483"/>
                </a:lnTo>
                <a:cubicBezTo>
                  <a:pt x="18075" y="39190"/>
                  <a:pt x="20228" y="42494"/>
                  <a:pt x="20228" y="46280"/>
                </a:cubicBezTo>
                <a:cubicBezTo>
                  <a:pt x="20228" y="51808"/>
                  <a:pt x="15736" y="56300"/>
                  <a:pt x="10208" y="56300"/>
                </a:cubicBezTo>
                <a:cubicBezTo>
                  <a:pt x="8388" y="56300"/>
                  <a:pt x="6680" y="55816"/>
                  <a:pt x="5235" y="54999"/>
                </a:cubicBezTo>
                <a:lnTo>
                  <a:pt x="0" y="64352"/>
                </a:lnTo>
                <a:cubicBezTo>
                  <a:pt x="14884" y="71700"/>
                  <a:pt x="25162" y="86915"/>
                  <a:pt x="25385" y="104581"/>
                </a:cubicBezTo>
                <a:lnTo>
                  <a:pt x="35518" y="104581"/>
                </a:lnTo>
                <a:lnTo>
                  <a:pt x="35518" y="104693"/>
                </a:lnTo>
                <a:cubicBezTo>
                  <a:pt x="35518" y="110222"/>
                  <a:pt x="40007" y="114713"/>
                  <a:pt x="45538" y="114713"/>
                </a:cubicBezTo>
                <a:cubicBezTo>
                  <a:pt x="51066" y="114713"/>
                  <a:pt x="55558" y="110222"/>
                  <a:pt x="55558" y="104693"/>
                </a:cubicBezTo>
                <a:lnTo>
                  <a:pt x="55558" y="104581"/>
                </a:lnTo>
                <a:lnTo>
                  <a:pt x="96416" y="104581"/>
                </a:lnTo>
                <a:lnTo>
                  <a:pt x="36964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46" name="Google Shape;1642;p45">
            <a:extLst>
              <a:ext uri="{FF2B5EF4-FFF2-40B4-BE49-F238E27FC236}">
                <a16:creationId xmlns:a16="http://schemas.microsoft.com/office/drawing/2014/main" id="{09E2290D-D988-3001-155A-88194E90FCEC}"/>
              </a:ext>
            </a:extLst>
          </p:cNvPr>
          <p:cNvSpPr txBox="1"/>
          <p:nvPr/>
        </p:nvSpPr>
        <p:spPr>
          <a:xfrm>
            <a:off x="6868149" y="3122716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2</a:t>
            </a:r>
            <a:endParaRPr sz="2400" b="1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47" name="Google Shape;1643;p45">
            <a:extLst>
              <a:ext uri="{FF2B5EF4-FFF2-40B4-BE49-F238E27FC236}">
                <a16:creationId xmlns:a16="http://schemas.microsoft.com/office/drawing/2014/main" id="{961F15EF-C1EF-F9FB-4A46-6DF16BF3145D}"/>
              </a:ext>
            </a:extLst>
          </p:cNvPr>
          <p:cNvSpPr/>
          <p:nvPr/>
        </p:nvSpPr>
        <p:spPr>
          <a:xfrm>
            <a:off x="6491394" y="3976679"/>
            <a:ext cx="1740502" cy="1894868"/>
          </a:xfrm>
          <a:custGeom>
            <a:avLst/>
            <a:gdLst/>
            <a:ahLst/>
            <a:cxnLst/>
            <a:rect l="l" t="t" r="r" b="b"/>
            <a:pathLst>
              <a:path w="96343" h="104953" extrusionOk="0">
                <a:moveTo>
                  <a:pt x="25198" y="1"/>
                </a:moveTo>
                <a:lnTo>
                  <a:pt x="25198" y="594"/>
                </a:lnTo>
                <a:cubicBezTo>
                  <a:pt x="25198" y="18298"/>
                  <a:pt x="15068" y="33662"/>
                  <a:pt x="297" y="41194"/>
                </a:cubicBezTo>
                <a:lnTo>
                  <a:pt x="4305" y="48358"/>
                </a:lnTo>
                <a:cubicBezTo>
                  <a:pt x="1708" y="50175"/>
                  <a:pt x="0" y="53183"/>
                  <a:pt x="0" y="56597"/>
                </a:cubicBezTo>
                <a:cubicBezTo>
                  <a:pt x="0" y="62125"/>
                  <a:pt x="4489" y="66617"/>
                  <a:pt x="10021" y="66617"/>
                </a:cubicBezTo>
                <a:cubicBezTo>
                  <a:pt x="11431" y="66617"/>
                  <a:pt x="12767" y="66320"/>
                  <a:pt x="13990" y="65762"/>
                </a:cubicBezTo>
                <a:lnTo>
                  <a:pt x="35812" y="104952"/>
                </a:lnTo>
                <a:lnTo>
                  <a:pt x="36777" y="104952"/>
                </a:lnTo>
                <a:lnTo>
                  <a:pt x="96342" y="188"/>
                </a:lnTo>
                <a:lnTo>
                  <a:pt x="96229" y="1"/>
                </a:lnTo>
                <a:lnTo>
                  <a:pt x="55371" y="1"/>
                </a:lnTo>
                <a:lnTo>
                  <a:pt x="55371" y="113"/>
                </a:lnTo>
                <a:cubicBezTo>
                  <a:pt x="55371" y="5642"/>
                  <a:pt x="50879" y="10133"/>
                  <a:pt x="45351" y="10133"/>
                </a:cubicBezTo>
                <a:cubicBezTo>
                  <a:pt x="39820" y="10133"/>
                  <a:pt x="35331" y="5642"/>
                  <a:pt x="35331" y="113"/>
                </a:cubicBezTo>
                <a:lnTo>
                  <a:pt x="35331" y="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48" name="Google Shape;1644;p45">
            <a:extLst>
              <a:ext uri="{FF2B5EF4-FFF2-40B4-BE49-F238E27FC236}">
                <a16:creationId xmlns:a16="http://schemas.microsoft.com/office/drawing/2014/main" id="{05A61D1E-618E-1568-C942-15B9BCF878A2}"/>
              </a:ext>
            </a:extLst>
          </p:cNvPr>
          <p:cNvSpPr txBox="1"/>
          <p:nvPr/>
        </p:nvSpPr>
        <p:spPr>
          <a:xfrm>
            <a:off x="6868149" y="4484183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3</a:t>
            </a:r>
            <a:endParaRPr sz="24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49" name="Google Shape;1645;p45">
            <a:extLst>
              <a:ext uri="{FF2B5EF4-FFF2-40B4-BE49-F238E27FC236}">
                <a16:creationId xmlns:a16="http://schemas.microsoft.com/office/drawing/2014/main" id="{ED6083BA-9AC8-89DC-E308-870092E1A70F}"/>
              </a:ext>
            </a:extLst>
          </p:cNvPr>
          <p:cNvSpPr/>
          <p:nvPr/>
        </p:nvSpPr>
        <p:spPr>
          <a:xfrm>
            <a:off x="5033416" y="4677316"/>
            <a:ext cx="2110578" cy="1186610"/>
          </a:xfrm>
          <a:custGeom>
            <a:avLst/>
            <a:gdLst/>
            <a:ahLst/>
            <a:cxnLst/>
            <a:rect l="l" t="t" r="r" b="b"/>
            <a:pathLst>
              <a:path w="116828" h="65724" extrusionOk="0">
                <a:moveTo>
                  <a:pt x="36592" y="0"/>
                </a:moveTo>
                <a:lnTo>
                  <a:pt x="31916" y="8349"/>
                </a:lnTo>
                <a:cubicBezTo>
                  <a:pt x="30619" y="7719"/>
                  <a:pt x="29096" y="7348"/>
                  <a:pt x="27537" y="7348"/>
                </a:cubicBezTo>
                <a:cubicBezTo>
                  <a:pt x="21970" y="7348"/>
                  <a:pt x="17517" y="11837"/>
                  <a:pt x="17517" y="17368"/>
                </a:cubicBezTo>
                <a:cubicBezTo>
                  <a:pt x="17517" y="20931"/>
                  <a:pt x="19373" y="24084"/>
                  <a:pt x="22193" y="25830"/>
                </a:cubicBezTo>
                <a:lnTo>
                  <a:pt x="0" y="65723"/>
                </a:lnTo>
                <a:lnTo>
                  <a:pt x="116828" y="65723"/>
                </a:lnTo>
                <a:lnTo>
                  <a:pt x="95006" y="26533"/>
                </a:lnTo>
                <a:cubicBezTo>
                  <a:pt x="93783" y="27091"/>
                  <a:pt x="92447" y="27388"/>
                  <a:pt x="91037" y="27388"/>
                </a:cubicBezTo>
                <a:cubicBezTo>
                  <a:pt x="85505" y="27388"/>
                  <a:pt x="81016" y="22896"/>
                  <a:pt x="81016" y="17368"/>
                </a:cubicBezTo>
                <a:cubicBezTo>
                  <a:pt x="81016" y="13954"/>
                  <a:pt x="82724" y="10946"/>
                  <a:pt x="85321" y="9129"/>
                </a:cubicBezTo>
                <a:lnTo>
                  <a:pt x="81313" y="1965"/>
                </a:lnTo>
                <a:cubicBezTo>
                  <a:pt x="75114" y="5121"/>
                  <a:pt x="68102" y="6864"/>
                  <a:pt x="60715" y="6864"/>
                </a:cubicBezTo>
                <a:cubicBezTo>
                  <a:pt x="51847" y="6864"/>
                  <a:pt x="43569" y="4341"/>
                  <a:pt x="36592" y="0"/>
                </a:cubicBezTo>
                <a:close/>
              </a:path>
            </a:pathLst>
          </a:custGeom>
          <a:solidFill>
            <a:srgbClr val="A2D6BE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50" name="Google Shape;1621;p45">
            <a:extLst>
              <a:ext uri="{FF2B5EF4-FFF2-40B4-BE49-F238E27FC236}">
                <a16:creationId xmlns:a16="http://schemas.microsoft.com/office/drawing/2014/main" id="{D8D2F329-2EDB-4518-77AF-E39C1A23FB89}"/>
              </a:ext>
            </a:extLst>
          </p:cNvPr>
          <p:cNvSpPr txBox="1"/>
          <p:nvPr/>
        </p:nvSpPr>
        <p:spPr>
          <a:xfrm>
            <a:off x="5720942" y="5229408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4</a:t>
            </a:r>
            <a:endParaRPr sz="2400" b="1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1" name="Google Shape;1646;p45">
            <a:extLst>
              <a:ext uri="{FF2B5EF4-FFF2-40B4-BE49-F238E27FC236}">
                <a16:creationId xmlns:a16="http://schemas.microsoft.com/office/drawing/2014/main" id="{2A975756-BC14-5B19-0F62-FD77736FDBE0}"/>
              </a:ext>
            </a:extLst>
          </p:cNvPr>
          <p:cNvSpPr/>
          <p:nvPr/>
        </p:nvSpPr>
        <p:spPr>
          <a:xfrm>
            <a:off x="3942191" y="2088545"/>
            <a:ext cx="1776706" cy="1888151"/>
          </a:xfrm>
          <a:custGeom>
            <a:avLst/>
            <a:gdLst/>
            <a:ahLst/>
            <a:cxnLst/>
            <a:rect l="l" t="t" r="r" b="b"/>
            <a:pathLst>
              <a:path w="98347" h="104581" extrusionOk="0">
                <a:moveTo>
                  <a:pt x="59489" y="0"/>
                </a:moveTo>
                <a:lnTo>
                  <a:pt x="1" y="104581"/>
                </a:lnTo>
                <a:lnTo>
                  <a:pt x="45797" y="104581"/>
                </a:lnTo>
                <a:cubicBezTo>
                  <a:pt x="45832" y="99088"/>
                  <a:pt x="50286" y="94673"/>
                  <a:pt x="55778" y="94673"/>
                </a:cubicBezTo>
                <a:cubicBezTo>
                  <a:pt x="61309" y="94673"/>
                  <a:pt x="65763" y="99088"/>
                  <a:pt x="65798" y="104581"/>
                </a:cubicBezTo>
                <a:lnTo>
                  <a:pt x="76005" y="104581"/>
                </a:lnTo>
                <a:cubicBezTo>
                  <a:pt x="76228" y="88364"/>
                  <a:pt x="84912" y="74188"/>
                  <a:pt x="97901" y="66281"/>
                </a:cubicBezTo>
                <a:lnTo>
                  <a:pt x="91963" y="55632"/>
                </a:lnTo>
                <a:cubicBezTo>
                  <a:pt x="95710" y="54183"/>
                  <a:pt x="98347" y="50546"/>
                  <a:pt x="98347" y="46280"/>
                </a:cubicBezTo>
                <a:cubicBezTo>
                  <a:pt x="98347" y="40749"/>
                  <a:pt x="93893" y="36260"/>
                  <a:pt x="88362" y="36260"/>
                </a:cubicBezTo>
                <a:cubicBezTo>
                  <a:pt x="86061" y="36260"/>
                  <a:pt x="83983" y="37037"/>
                  <a:pt x="82314" y="38299"/>
                </a:cubicBezTo>
                <a:lnTo>
                  <a:pt x="6097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52" name="Google Shape;1647;p45">
            <a:extLst>
              <a:ext uri="{FF2B5EF4-FFF2-40B4-BE49-F238E27FC236}">
                <a16:creationId xmlns:a16="http://schemas.microsoft.com/office/drawing/2014/main" id="{F1471E0E-49DB-6BEF-20F2-0322B9E9FDB4}"/>
              </a:ext>
            </a:extLst>
          </p:cNvPr>
          <p:cNvSpPr txBox="1"/>
          <p:nvPr/>
        </p:nvSpPr>
        <p:spPr>
          <a:xfrm>
            <a:off x="4545055" y="3122716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6</a:t>
            </a:r>
            <a:endParaRPr sz="24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3" name="Google Shape;1648;p45">
            <a:extLst>
              <a:ext uri="{FF2B5EF4-FFF2-40B4-BE49-F238E27FC236}">
                <a16:creationId xmlns:a16="http://schemas.microsoft.com/office/drawing/2014/main" id="{AB566AC0-E39A-7C4B-00B0-EF2D4F788E3B}"/>
              </a:ext>
            </a:extLst>
          </p:cNvPr>
          <p:cNvSpPr/>
          <p:nvPr/>
        </p:nvSpPr>
        <p:spPr>
          <a:xfrm>
            <a:off x="3940167" y="3795432"/>
            <a:ext cx="1761946" cy="2073734"/>
          </a:xfrm>
          <a:custGeom>
            <a:avLst/>
            <a:gdLst/>
            <a:ahLst/>
            <a:cxnLst/>
            <a:rect l="l" t="t" r="r" b="b"/>
            <a:pathLst>
              <a:path w="97530" h="114860" extrusionOk="0">
                <a:moveTo>
                  <a:pt x="55890" y="0"/>
                </a:moveTo>
                <a:cubicBezTo>
                  <a:pt x="50398" y="0"/>
                  <a:pt x="45944" y="4415"/>
                  <a:pt x="45909" y="9908"/>
                </a:cubicBezTo>
                <a:lnTo>
                  <a:pt x="113" y="9908"/>
                </a:lnTo>
                <a:lnTo>
                  <a:pt x="0" y="10095"/>
                </a:lnTo>
                <a:lnTo>
                  <a:pt x="59601" y="114859"/>
                </a:lnTo>
                <a:lnTo>
                  <a:pt x="60937" y="114859"/>
                </a:lnTo>
                <a:lnTo>
                  <a:pt x="83130" y="74966"/>
                </a:lnTo>
                <a:cubicBezTo>
                  <a:pt x="80310" y="73220"/>
                  <a:pt x="78454" y="70067"/>
                  <a:pt x="78454" y="66504"/>
                </a:cubicBezTo>
                <a:cubicBezTo>
                  <a:pt x="78454" y="60973"/>
                  <a:pt x="82907" y="56484"/>
                  <a:pt x="88474" y="56484"/>
                </a:cubicBezTo>
                <a:cubicBezTo>
                  <a:pt x="90033" y="56484"/>
                  <a:pt x="91556" y="56855"/>
                  <a:pt x="92853" y="57485"/>
                </a:cubicBezTo>
                <a:lnTo>
                  <a:pt x="97529" y="49136"/>
                </a:lnTo>
                <a:cubicBezTo>
                  <a:pt x="84689" y="41081"/>
                  <a:pt x="76117" y="26795"/>
                  <a:pt x="76117" y="10501"/>
                </a:cubicBezTo>
                <a:lnTo>
                  <a:pt x="76117" y="9908"/>
                </a:lnTo>
                <a:lnTo>
                  <a:pt x="65910" y="9908"/>
                </a:lnTo>
                <a:cubicBezTo>
                  <a:pt x="65875" y="4415"/>
                  <a:pt x="61421" y="0"/>
                  <a:pt x="55890" y="0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54" name="Google Shape;1649;p45">
            <a:extLst>
              <a:ext uri="{FF2B5EF4-FFF2-40B4-BE49-F238E27FC236}">
                <a16:creationId xmlns:a16="http://schemas.microsoft.com/office/drawing/2014/main" id="{F8179732-DEDA-A6BF-949E-440908382A48}"/>
              </a:ext>
            </a:extLst>
          </p:cNvPr>
          <p:cNvSpPr txBox="1"/>
          <p:nvPr/>
        </p:nvSpPr>
        <p:spPr>
          <a:xfrm>
            <a:off x="4545055" y="4484183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5</a:t>
            </a:r>
            <a:endParaRPr sz="24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5" name="Google Shape;1650;p45">
            <a:extLst>
              <a:ext uri="{FF2B5EF4-FFF2-40B4-BE49-F238E27FC236}">
                <a16:creationId xmlns:a16="http://schemas.microsoft.com/office/drawing/2014/main" id="{CBE79A0A-0DFE-EF84-F286-4F82DC507DA1}"/>
              </a:ext>
            </a:extLst>
          </p:cNvPr>
          <p:cNvSpPr/>
          <p:nvPr/>
        </p:nvSpPr>
        <p:spPr>
          <a:xfrm>
            <a:off x="5043710" y="2088545"/>
            <a:ext cx="2104580" cy="1196685"/>
          </a:xfrm>
          <a:custGeom>
            <a:avLst/>
            <a:gdLst/>
            <a:ahLst/>
            <a:cxnLst/>
            <a:rect l="l" t="t" r="r" b="b"/>
            <a:pathLst>
              <a:path w="116496" h="66282" extrusionOk="0">
                <a:moveTo>
                  <a:pt x="1" y="0"/>
                </a:moveTo>
                <a:lnTo>
                  <a:pt x="21341" y="38299"/>
                </a:lnTo>
                <a:cubicBezTo>
                  <a:pt x="23010" y="37037"/>
                  <a:pt x="25088" y="36260"/>
                  <a:pt x="27389" y="36260"/>
                </a:cubicBezTo>
                <a:cubicBezTo>
                  <a:pt x="32920" y="36260"/>
                  <a:pt x="37374" y="40749"/>
                  <a:pt x="37374" y="46280"/>
                </a:cubicBezTo>
                <a:cubicBezTo>
                  <a:pt x="37374" y="50546"/>
                  <a:pt x="34737" y="54183"/>
                  <a:pt x="30990" y="55632"/>
                </a:cubicBezTo>
                <a:lnTo>
                  <a:pt x="36928" y="66281"/>
                </a:lnTo>
                <a:cubicBezTo>
                  <a:pt x="43792" y="62089"/>
                  <a:pt x="51883" y="59675"/>
                  <a:pt x="60567" y="59675"/>
                </a:cubicBezTo>
                <a:cubicBezTo>
                  <a:pt x="67767" y="59675"/>
                  <a:pt x="74595" y="61347"/>
                  <a:pt x="80681" y="64352"/>
                </a:cubicBezTo>
                <a:lnTo>
                  <a:pt x="85916" y="54999"/>
                </a:lnTo>
                <a:cubicBezTo>
                  <a:pt x="87361" y="55816"/>
                  <a:pt x="89069" y="56300"/>
                  <a:pt x="90889" y="56300"/>
                </a:cubicBezTo>
                <a:cubicBezTo>
                  <a:pt x="96417" y="56300"/>
                  <a:pt x="100909" y="51808"/>
                  <a:pt x="100909" y="46280"/>
                </a:cubicBezTo>
                <a:cubicBezTo>
                  <a:pt x="100909" y="42494"/>
                  <a:pt x="98756" y="39190"/>
                  <a:pt x="95639" y="37483"/>
                </a:cubicBezTo>
                <a:lnTo>
                  <a:pt x="11649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56" name="Google Shape;1651;p45">
            <a:extLst>
              <a:ext uri="{FF2B5EF4-FFF2-40B4-BE49-F238E27FC236}">
                <a16:creationId xmlns:a16="http://schemas.microsoft.com/office/drawing/2014/main" id="{3DDA60C6-7105-1ACB-5F61-CE51BF734161}"/>
              </a:ext>
            </a:extLst>
          </p:cNvPr>
          <p:cNvSpPr txBox="1"/>
          <p:nvPr/>
        </p:nvSpPr>
        <p:spPr>
          <a:xfrm>
            <a:off x="5720942" y="2434817"/>
            <a:ext cx="759509" cy="313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01</a:t>
            </a:r>
            <a:endParaRPr sz="24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7" name="Google Shape;1652;p45">
            <a:extLst>
              <a:ext uri="{FF2B5EF4-FFF2-40B4-BE49-F238E27FC236}">
                <a16:creationId xmlns:a16="http://schemas.microsoft.com/office/drawing/2014/main" id="{51966078-C623-0EA2-21D1-91AA23E13790}"/>
              </a:ext>
            </a:extLst>
          </p:cNvPr>
          <p:cNvSpPr/>
          <p:nvPr/>
        </p:nvSpPr>
        <p:spPr>
          <a:xfrm>
            <a:off x="5315273" y="3165943"/>
            <a:ext cx="1644591" cy="1642936"/>
          </a:xfrm>
          <a:custGeom>
            <a:avLst/>
            <a:gdLst/>
            <a:ahLst/>
            <a:cxnLst/>
            <a:rect l="l" t="t" r="r" b="b"/>
            <a:pathLst>
              <a:path w="91034" h="90999" extrusionOk="0">
                <a:moveTo>
                  <a:pt x="43234" y="44906"/>
                </a:moveTo>
                <a:lnTo>
                  <a:pt x="43234" y="44944"/>
                </a:lnTo>
                <a:lnTo>
                  <a:pt x="43198" y="44906"/>
                </a:lnTo>
                <a:close/>
                <a:moveTo>
                  <a:pt x="45535" y="0"/>
                </a:moveTo>
                <a:cubicBezTo>
                  <a:pt x="36851" y="0"/>
                  <a:pt x="28760" y="2414"/>
                  <a:pt x="21896" y="6606"/>
                </a:cubicBezTo>
                <a:cubicBezTo>
                  <a:pt x="8907" y="14513"/>
                  <a:pt x="223" y="28689"/>
                  <a:pt x="0" y="44906"/>
                </a:cubicBezTo>
                <a:lnTo>
                  <a:pt x="0" y="45499"/>
                </a:lnTo>
                <a:cubicBezTo>
                  <a:pt x="0" y="61793"/>
                  <a:pt x="8572" y="76079"/>
                  <a:pt x="21412" y="84134"/>
                </a:cubicBezTo>
                <a:cubicBezTo>
                  <a:pt x="28389" y="88475"/>
                  <a:pt x="36667" y="90998"/>
                  <a:pt x="45535" y="90998"/>
                </a:cubicBezTo>
                <a:cubicBezTo>
                  <a:pt x="52922" y="90998"/>
                  <a:pt x="59934" y="89255"/>
                  <a:pt x="66133" y="86099"/>
                </a:cubicBezTo>
                <a:cubicBezTo>
                  <a:pt x="80904" y="78567"/>
                  <a:pt x="91034" y="63203"/>
                  <a:pt x="91034" y="45499"/>
                </a:cubicBezTo>
                <a:lnTo>
                  <a:pt x="91034" y="44906"/>
                </a:lnTo>
                <a:cubicBezTo>
                  <a:pt x="90811" y="27240"/>
                  <a:pt x="80533" y="12025"/>
                  <a:pt x="65649" y="4677"/>
                </a:cubicBezTo>
                <a:cubicBezTo>
                  <a:pt x="59563" y="1672"/>
                  <a:pt x="52735" y="0"/>
                  <a:pt x="4553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2"/>
              </a:solidFill>
              <a:latin typeface="+mj-lt"/>
            </a:endParaRPr>
          </a:p>
        </p:txBody>
      </p:sp>
      <p:sp>
        <p:nvSpPr>
          <p:cNvPr id="58" name="Google Shape;1653;p45">
            <a:extLst>
              <a:ext uri="{FF2B5EF4-FFF2-40B4-BE49-F238E27FC236}">
                <a16:creationId xmlns:a16="http://schemas.microsoft.com/office/drawing/2014/main" id="{273CE69E-F872-6D56-F5C2-6293D65F59C6}"/>
              </a:ext>
            </a:extLst>
          </p:cNvPr>
          <p:cNvSpPr txBox="1"/>
          <p:nvPr/>
        </p:nvSpPr>
        <p:spPr>
          <a:xfrm>
            <a:off x="5363123" y="3655616"/>
            <a:ext cx="1579686" cy="658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chemeClr val="bg2"/>
                </a:solidFill>
                <a:latin typeface="+mj-lt"/>
                <a:ea typeface="Fira Sans Extra Condensed"/>
                <a:cs typeface="Fira Sans Extra Condensed"/>
                <a:sym typeface="Fira Sans Extra Condensed"/>
              </a:rPr>
              <a:t>Enter Text Here</a:t>
            </a:r>
            <a:endParaRPr sz="2000" b="1" dirty="0">
              <a:solidFill>
                <a:schemeClr val="bg2"/>
              </a:solidFill>
              <a:latin typeface="+mj-lt"/>
              <a:ea typeface="Fira Sans Extra Condensed"/>
              <a:cs typeface="Fira Sans Extra Condensed"/>
              <a:sym typeface="Fira Sans Extra Condensed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7988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Flowchart: Preparation 2">
            <a:extLst>
              <a:ext uri="{FF2B5EF4-FFF2-40B4-BE49-F238E27FC236}">
                <a16:creationId xmlns:a16="http://schemas.microsoft.com/office/drawing/2014/main" id="{B738485E-C13D-F6D6-4727-45A73F3B15AF}"/>
              </a:ext>
            </a:extLst>
          </p:cNvPr>
          <p:cNvSpPr/>
          <p:nvPr/>
        </p:nvSpPr>
        <p:spPr>
          <a:xfrm>
            <a:off x="5309128" y="1968363"/>
            <a:ext cx="1573735" cy="1330520"/>
          </a:xfrm>
          <a:prstGeom prst="flowChartPreparat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lowchart: Preparation 3">
            <a:extLst>
              <a:ext uri="{FF2B5EF4-FFF2-40B4-BE49-F238E27FC236}">
                <a16:creationId xmlns:a16="http://schemas.microsoft.com/office/drawing/2014/main" id="{E5AA206A-11C3-0497-8D5A-4FC3BC3F7D81}"/>
              </a:ext>
            </a:extLst>
          </p:cNvPr>
          <p:cNvSpPr/>
          <p:nvPr/>
        </p:nvSpPr>
        <p:spPr>
          <a:xfrm>
            <a:off x="4066226" y="2644059"/>
            <a:ext cx="1573735" cy="1330520"/>
          </a:xfrm>
          <a:prstGeom prst="flowChartPreparati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lowchart: Preparation 5">
            <a:extLst>
              <a:ext uri="{FF2B5EF4-FFF2-40B4-BE49-F238E27FC236}">
                <a16:creationId xmlns:a16="http://schemas.microsoft.com/office/drawing/2014/main" id="{45246CC0-3B14-1A8A-0171-40B78D2DFDF0}"/>
              </a:ext>
            </a:extLst>
          </p:cNvPr>
          <p:cNvSpPr/>
          <p:nvPr/>
        </p:nvSpPr>
        <p:spPr>
          <a:xfrm>
            <a:off x="6554414" y="2644059"/>
            <a:ext cx="1573735" cy="1330520"/>
          </a:xfrm>
          <a:prstGeom prst="flowChartPreparati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Flowchart: Preparation 6">
            <a:extLst>
              <a:ext uri="{FF2B5EF4-FFF2-40B4-BE49-F238E27FC236}">
                <a16:creationId xmlns:a16="http://schemas.microsoft.com/office/drawing/2014/main" id="{10FF0527-9E64-BC38-6AB4-732A02152720}"/>
              </a:ext>
            </a:extLst>
          </p:cNvPr>
          <p:cNvSpPr/>
          <p:nvPr/>
        </p:nvSpPr>
        <p:spPr>
          <a:xfrm>
            <a:off x="6554414" y="3972485"/>
            <a:ext cx="1573735" cy="1330520"/>
          </a:xfrm>
          <a:prstGeom prst="flowChartPreparat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lowchart: Preparation 7">
            <a:extLst>
              <a:ext uri="{FF2B5EF4-FFF2-40B4-BE49-F238E27FC236}">
                <a16:creationId xmlns:a16="http://schemas.microsoft.com/office/drawing/2014/main" id="{3F4DEA46-FF0F-D265-82F7-86491AE35EBF}"/>
              </a:ext>
            </a:extLst>
          </p:cNvPr>
          <p:cNvSpPr/>
          <p:nvPr/>
        </p:nvSpPr>
        <p:spPr>
          <a:xfrm>
            <a:off x="5309128" y="4645437"/>
            <a:ext cx="1573735" cy="1330520"/>
          </a:xfrm>
          <a:prstGeom prst="flowChartPreparati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lowchart: Preparation 8">
            <a:extLst>
              <a:ext uri="{FF2B5EF4-FFF2-40B4-BE49-F238E27FC236}">
                <a16:creationId xmlns:a16="http://schemas.microsoft.com/office/drawing/2014/main" id="{B0EEB482-07C4-9AF7-B735-444E6D6C93BE}"/>
              </a:ext>
            </a:extLst>
          </p:cNvPr>
          <p:cNvSpPr/>
          <p:nvPr/>
        </p:nvSpPr>
        <p:spPr>
          <a:xfrm>
            <a:off x="4063842" y="3972485"/>
            <a:ext cx="1573735" cy="1330520"/>
          </a:xfrm>
          <a:prstGeom prst="flowChartPreparatio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30DACA59-720E-E9FA-0723-B554822C879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04505" y="2342133"/>
            <a:ext cx="582981" cy="582981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47BB4CBC-CAB4-741B-5956-39D14E6A9FD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49790" y="3017829"/>
            <a:ext cx="582981" cy="582981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F76863B-E91B-782D-6634-A4328E080BB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49791" y="4346255"/>
            <a:ext cx="582981" cy="582981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5633580-7855-603E-71DD-954AC83EA2E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04506" y="5019207"/>
            <a:ext cx="582981" cy="582981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BA897F7-95AF-25A9-9D7C-3DAB17DB661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59219" y="4346255"/>
            <a:ext cx="582981" cy="582981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1D2A588-C1E2-D537-87D4-ADA5590AB59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61603" y="3017829"/>
            <a:ext cx="582981" cy="582981"/>
          </a:xfrm>
          <a:prstGeom prst="rect">
            <a:avLst/>
          </a:prstGeom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C84317B-E6FF-2F11-46B5-12FDB083EA0B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8128149" y="3309319"/>
            <a:ext cx="9144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20D10755-5A93-C497-10A9-2D889E795B09}"/>
              </a:ext>
            </a:extLst>
          </p:cNvPr>
          <p:cNvSpPr txBox="1"/>
          <p:nvPr/>
        </p:nvSpPr>
        <p:spPr>
          <a:xfrm>
            <a:off x="9042602" y="2861953"/>
            <a:ext cx="1820160" cy="89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A3FEC4F-E5D6-EB5A-EEE3-B864C7BF5D43}"/>
              </a:ext>
            </a:extLst>
          </p:cNvPr>
          <p:cNvCxnSpPr>
            <a:cxnSpLocks/>
            <a:endCxn id="40" idx="1"/>
          </p:cNvCxnSpPr>
          <p:nvPr/>
        </p:nvCxnSpPr>
        <p:spPr>
          <a:xfrm>
            <a:off x="8128149" y="4637745"/>
            <a:ext cx="9144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720A6C86-821A-7E5B-18B5-09B729FA2C7B}"/>
              </a:ext>
            </a:extLst>
          </p:cNvPr>
          <p:cNvSpPr txBox="1"/>
          <p:nvPr/>
        </p:nvSpPr>
        <p:spPr>
          <a:xfrm>
            <a:off x="9042602" y="4190379"/>
            <a:ext cx="1820160" cy="89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FBD5E7FB-2134-E5AD-1E31-55ADD4F987A9}"/>
              </a:ext>
            </a:extLst>
          </p:cNvPr>
          <p:cNvCxnSpPr>
            <a:cxnSpLocks/>
            <a:endCxn id="44" idx="3"/>
          </p:cNvCxnSpPr>
          <p:nvPr/>
        </p:nvCxnSpPr>
        <p:spPr>
          <a:xfrm flipH="1">
            <a:off x="3149398" y="3309319"/>
            <a:ext cx="9168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DFFA8D97-95C8-0CD2-1260-2FC7289E91DF}"/>
              </a:ext>
            </a:extLst>
          </p:cNvPr>
          <p:cNvSpPr txBox="1"/>
          <p:nvPr/>
        </p:nvSpPr>
        <p:spPr>
          <a:xfrm>
            <a:off x="1329238" y="2861953"/>
            <a:ext cx="1820160" cy="89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67D91CC-C001-5B34-FDA4-48FCB508DB90}"/>
              </a:ext>
            </a:extLst>
          </p:cNvPr>
          <p:cNvCxnSpPr>
            <a:cxnSpLocks/>
            <a:endCxn id="49" idx="3"/>
          </p:cNvCxnSpPr>
          <p:nvPr/>
        </p:nvCxnSpPr>
        <p:spPr>
          <a:xfrm flipH="1">
            <a:off x="3147005" y="4637745"/>
            <a:ext cx="91683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DA3C133E-90CD-C90E-905E-05AD463FCCDB}"/>
              </a:ext>
            </a:extLst>
          </p:cNvPr>
          <p:cNvSpPr txBox="1"/>
          <p:nvPr/>
        </p:nvSpPr>
        <p:spPr>
          <a:xfrm>
            <a:off x="1326845" y="4190379"/>
            <a:ext cx="1820160" cy="89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8CC693A-C95D-215A-EB54-26AE1B1B255A}"/>
              </a:ext>
            </a:extLst>
          </p:cNvPr>
          <p:cNvCxnSpPr>
            <a:cxnSpLocks/>
            <a:endCxn id="56" idx="1"/>
          </p:cNvCxnSpPr>
          <p:nvPr/>
        </p:nvCxnSpPr>
        <p:spPr>
          <a:xfrm flipV="1">
            <a:off x="6550233" y="5966170"/>
            <a:ext cx="791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739CBAD2-993B-1D16-DCF2-77225109E743}"/>
              </a:ext>
            </a:extLst>
          </p:cNvPr>
          <p:cNvSpPr txBox="1"/>
          <p:nvPr/>
        </p:nvSpPr>
        <p:spPr>
          <a:xfrm>
            <a:off x="7341280" y="5657303"/>
            <a:ext cx="264031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F03B7889-0947-4F44-087A-894C0E287A39}"/>
              </a:ext>
            </a:extLst>
          </p:cNvPr>
          <p:cNvCxnSpPr>
            <a:cxnSpLocks/>
            <a:endCxn id="64" idx="3"/>
          </p:cNvCxnSpPr>
          <p:nvPr/>
        </p:nvCxnSpPr>
        <p:spPr>
          <a:xfrm flipH="1" flipV="1">
            <a:off x="4787900" y="1849343"/>
            <a:ext cx="853858" cy="1190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4103A9B6-C139-83B2-374A-5F9B3A444CF9}"/>
              </a:ext>
            </a:extLst>
          </p:cNvPr>
          <p:cNvSpPr txBox="1"/>
          <p:nvPr/>
        </p:nvSpPr>
        <p:spPr>
          <a:xfrm>
            <a:off x="2349500" y="1540476"/>
            <a:ext cx="2438400" cy="61773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096AF4B-7BC7-0B0E-328D-88BFCC47B976}"/>
              </a:ext>
            </a:extLst>
          </p:cNvPr>
          <p:cNvSpPr txBox="1"/>
          <p:nvPr/>
        </p:nvSpPr>
        <p:spPr>
          <a:xfrm>
            <a:off x="5576507" y="3531975"/>
            <a:ext cx="1038994" cy="8803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5425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A5715AA4-2FAD-1EDC-7E1C-CBF501066EE2}"/>
              </a:ext>
            </a:extLst>
          </p:cNvPr>
          <p:cNvSpPr/>
          <p:nvPr/>
        </p:nvSpPr>
        <p:spPr>
          <a:xfrm rot="5400000">
            <a:off x="7163505" y="2305823"/>
            <a:ext cx="3634863" cy="3127320"/>
          </a:xfrm>
          <a:prstGeom prst="hexagon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92F0E7C-34EA-FEAA-C3FE-53A055C841F3}"/>
              </a:ext>
            </a:extLst>
          </p:cNvPr>
          <p:cNvCxnSpPr>
            <a:cxnSpLocks/>
          </p:cNvCxnSpPr>
          <p:nvPr/>
        </p:nvCxnSpPr>
        <p:spPr>
          <a:xfrm flipH="1">
            <a:off x="7954788" y="3196556"/>
            <a:ext cx="2052300" cy="1348272"/>
          </a:xfrm>
          <a:prstGeom prst="line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2F2AC08-5949-BB22-A29B-9F625B2D6338}"/>
              </a:ext>
            </a:extLst>
          </p:cNvPr>
          <p:cNvCxnSpPr>
            <a:cxnSpLocks/>
          </p:cNvCxnSpPr>
          <p:nvPr/>
        </p:nvCxnSpPr>
        <p:spPr>
          <a:xfrm>
            <a:off x="7954788" y="3196556"/>
            <a:ext cx="2052300" cy="1348272"/>
          </a:xfrm>
          <a:prstGeom prst="line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Flowchart: Preparation 6">
            <a:extLst>
              <a:ext uri="{FF2B5EF4-FFF2-40B4-BE49-F238E27FC236}">
                <a16:creationId xmlns:a16="http://schemas.microsoft.com/office/drawing/2014/main" id="{86AF67B5-5B59-C275-D436-0FA4A6B2C0CF}"/>
              </a:ext>
            </a:extLst>
          </p:cNvPr>
          <p:cNvSpPr/>
          <p:nvPr/>
        </p:nvSpPr>
        <p:spPr>
          <a:xfrm rot="5400000">
            <a:off x="6835750" y="2331759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8" name="Flowchart: Preparation 7">
            <a:extLst>
              <a:ext uri="{FF2B5EF4-FFF2-40B4-BE49-F238E27FC236}">
                <a16:creationId xmlns:a16="http://schemas.microsoft.com/office/drawing/2014/main" id="{48CB2DAC-BE61-13FB-AE86-88A8CBD42308}"/>
              </a:ext>
            </a:extLst>
          </p:cNvPr>
          <p:cNvSpPr/>
          <p:nvPr/>
        </p:nvSpPr>
        <p:spPr>
          <a:xfrm rot="5400000">
            <a:off x="9963069" y="4320090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9" name="Flowchart: Preparation 8">
            <a:extLst>
              <a:ext uri="{FF2B5EF4-FFF2-40B4-BE49-F238E27FC236}">
                <a16:creationId xmlns:a16="http://schemas.microsoft.com/office/drawing/2014/main" id="{5930ED39-CBBC-BDB6-E1EA-1F313247AA43}"/>
              </a:ext>
            </a:extLst>
          </p:cNvPr>
          <p:cNvSpPr/>
          <p:nvPr/>
        </p:nvSpPr>
        <p:spPr>
          <a:xfrm rot="5400000">
            <a:off x="6835750" y="4320090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10" name="Flowchart: Preparation 9">
            <a:extLst>
              <a:ext uri="{FF2B5EF4-FFF2-40B4-BE49-F238E27FC236}">
                <a16:creationId xmlns:a16="http://schemas.microsoft.com/office/drawing/2014/main" id="{9FF469D4-C1D1-EF44-6C1A-BEF33E7E98AC}"/>
              </a:ext>
            </a:extLst>
          </p:cNvPr>
          <p:cNvSpPr>
            <a:spLocks/>
          </p:cNvSpPr>
          <p:nvPr/>
        </p:nvSpPr>
        <p:spPr>
          <a:xfrm rot="5400000">
            <a:off x="8399409" y="1451465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9E352FC-9EA9-2F96-C904-064B1AEC40AC}"/>
              </a:ext>
            </a:extLst>
          </p:cNvPr>
          <p:cNvCxnSpPr>
            <a:cxnSpLocks/>
          </p:cNvCxnSpPr>
          <p:nvPr/>
        </p:nvCxnSpPr>
        <p:spPr>
          <a:xfrm>
            <a:off x="8980938" y="2599530"/>
            <a:ext cx="0" cy="2538214"/>
          </a:xfrm>
          <a:prstGeom prst="line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Flowchart: Preparation 12">
            <a:extLst>
              <a:ext uri="{FF2B5EF4-FFF2-40B4-BE49-F238E27FC236}">
                <a16:creationId xmlns:a16="http://schemas.microsoft.com/office/drawing/2014/main" id="{F607D849-E09C-FC5E-F60F-6DDE5F42DEB7}"/>
              </a:ext>
            </a:extLst>
          </p:cNvPr>
          <p:cNvSpPr/>
          <p:nvPr/>
        </p:nvSpPr>
        <p:spPr>
          <a:xfrm rot="5400000">
            <a:off x="8353871" y="3334402"/>
            <a:ext cx="1254125" cy="1075019"/>
          </a:xfrm>
          <a:prstGeom prst="flowChartPreparation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73E2F9-6578-AA46-D1BA-93FD72297C3C}"/>
              </a:ext>
            </a:extLst>
          </p:cNvPr>
          <p:cNvSpPr txBox="1"/>
          <p:nvPr/>
        </p:nvSpPr>
        <p:spPr>
          <a:xfrm>
            <a:off x="8571430" y="1773531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EAC324-B899-E32B-B569-359E2D5ED6EC}"/>
              </a:ext>
            </a:extLst>
          </p:cNvPr>
          <p:cNvSpPr txBox="1"/>
          <p:nvPr/>
        </p:nvSpPr>
        <p:spPr>
          <a:xfrm>
            <a:off x="10135094" y="4642157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974BD4-2B97-F0B6-34F6-1CA38EAB6CA8}"/>
              </a:ext>
            </a:extLst>
          </p:cNvPr>
          <p:cNvSpPr txBox="1"/>
          <p:nvPr/>
        </p:nvSpPr>
        <p:spPr>
          <a:xfrm>
            <a:off x="7007775" y="2653825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D28789-C8B3-4C28-F71F-B9C375EDD2DE}"/>
              </a:ext>
            </a:extLst>
          </p:cNvPr>
          <p:cNvSpPr txBox="1"/>
          <p:nvPr/>
        </p:nvSpPr>
        <p:spPr>
          <a:xfrm>
            <a:off x="7007775" y="4642157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7A1DBE-5027-4C9C-9313-32ADBE2C0F95}"/>
              </a:ext>
            </a:extLst>
          </p:cNvPr>
          <p:cNvSpPr txBox="1"/>
          <p:nvPr/>
        </p:nvSpPr>
        <p:spPr>
          <a:xfrm>
            <a:off x="8571434" y="3656468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Lorem Ipsum</a:t>
            </a:r>
          </a:p>
        </p:txBody>
      </p:sp>
      <p:sp>
        <p:nvSpPr>
          <p:cNvPr id="26" name="Flowchart: Preparation 25">
            <a:extLst>
              <a:ext uri="{FF2B5EF4-FFF2-40B4-BE49-F238E27FC236}">
                <a16:creationId xmlns:a16="http://schemas.microsoft.com/office/drawing/2014/main" id="{A6F6124B-436D-9334-E3DA-9F8989FAA07A}"/>
              </a:ext>
            </a:extLst>
          </p:cNvPr>
          <p:cNvSpPr/>
          <p:nvPr/>
        </p:nvSpPr>
        <p:spPr>
          <a:xfrm rot="5400000">
            <a:off x="9963069" y="2331759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87A361-EA64-8ED1-6760-DF7F8A46EAD5}"/>
              </a:ext>
            </a:extLst>
          </p:cNvPr>
          <p:cNvSpPr txBox="1"/>
          <p:nvPr/>
        </p:nvSpPr>
        <p:spPr>
          <a:xfrm>
            <a:off x="10135094" y="2653825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3</a:t>
            </a:r>
          </a:p>
        </p:txBody>
      </p:sp>
      <p:sp>
        <p:nvSpPr>
          <p:cNvPr id="11" name="Flowchart: Preparation 10">
            <a:extLst>
              <a:ext uri="{FF2B5EF4-FFF2-40B4-BE49-F238E27FC236}">
                <a16:creationId xmlns:a16="http://schemas.microsoft.com/office/drawing/2014/main" id="{A4881E93-9898-5349-C2F0-A15A895BF2BF}"/>
              </a:ext>
            </a:extLst>
          </p:cNvPr>
          <p:cNvSpPr/>
          <p:nvPr/>
        </p:nvSpPr>
        <p:spPr>
          <a:xfrm rot="5400000">
            <a:off x="8399409" y="5210790"/>
            <a:ext cx="1163055" cy="1075019"/>
          </a:xfrm>
          <a:prstGeom prst="flowChartPreparation">
            <a:avLst/>
          </a:prstGeom>
          <a:gradFill>
            <a:gsLst>
              <a:gs pos="90000">
                <a:srgbClr val="CCE9DC"/>
              </a:gs>
              <a:gs pos="0">
                <a:schemeClr val="tx1">
                  <a:lumMod val="75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850828-FA48-D29B-4500-859933D5BD26}"/>
              </a:ext>
            </a:extLst>
          </p:cNvPr>
          <p:cNvSpPr txBox="1"/>
          <p:nvPr/>
        </p:nvSpPr>
        <p:spPr>
          <a:xfrm>
            <a:off x="8571434" y="5532857"/>
            <a:ext cx="81900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5</a:t>
            </a:r>
          </a:p>
        </p:txBody>
      </p:sp>
      <p:sp>
        <p:nvSpPr>
          <p:cNvPr id="45" name="Flowchart: Preparation 44">
            <a:extLst>
              <a:ext uri="{FF2B5EF4-FFF2-40B4-BE49-F238E27FC236}">
                <a16:creationId xmlns:a16="http://schemas.microsoft.com/office/drawing/2014/main" id="{E980D8A2-CC95-D6B6-FFE4-ED96BA1F33B9}"/>
              </a:ext>
            </a:extLst>
          </p:cNvPr>
          <p:cNvSpPr/>
          <p:nvPr/>
        </p:nvSpPr>
        <p:spPr>
          <a:xfrm>
            <a:off x="671785" y="1744050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6" name="Flowchart: Preparation 45">
            <a:extLst>
              <a:ext uri="{FF2B5EF4-FFF2-40B4-BE49-F238E27FC236}">
                <a16:creationId xmlns:a16="http://schemas.microsoft.com/office/drawing/2014/main" id="{38CCE65A-4DA1-A82E-7016-6F1C24C7CEAC}"/>
              </a:ext>
            </a:extLst>
          </p:cNvPr>
          <p:cNvSpPr/>
          <p:nvPr/>
        </p:nvSpPr>
        <p:spPr>
          <a:xfrm>
            <a:off x="671785" y="2521729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47" name="Flowchart: Preparation 46">
            <a:extLst>
              <a:ext uri="{FF2B5EF4-FFF2-40B4-BE49-F238E27FC236}">
                <a16:creationId xmlns:a16="http://schemas.microsoft.com/office/drawing/2014/main" id="{F84E351B-6B74-6067-B0FE-AFEB72B17481}"/>
              </a:ext>
            </a:extLst>
          </p:cNvPr>
          <p:cNvSpPr/>
          <p:nvPr/>
        </p:nvSpPr>
        <p:spPr>
          <a:xfrm>
            <a:off x="671785" y="3299409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8" name="Flowchart: Preparation 47">
            <a:extLst>
              <a:ext uri="{FF2B5EF4-FFF2-40B4-BE49-F238E27FC236}">
                <a16:creationId xmlns:a16="http://schemas.microsoft.com/office/drawing/2014/main" id="{45709FD9-5561-0668-B59F-E26864474AE0}"/>
              </a:ext>
            </a:extLst>
          </p:cNvPr>
          <p:cNvSpPr/>
          <p:nvPr/>
        </p:nvSpPr>
        <p:spPr>
          <a:xfrm>
            <a:off x="671785" y="4077088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9" name="Flowchart: Preparation 48">
            <a:extLst>
              <a:ext uri="{FF2B5EF4-FFF2-40B4-BE49-F238E27FC236}">
                <a16:creationId xmlns:a16="http://schemas.microsoft.com/office/drawing/2014/main" id="{25E22009-B0DB-D1BA-DC97-FE56A17206E4}"/>
              </a:ext>
            </a:extLst>
          </p:cNvPr>
          <p:cNvSpPr/>
          <p:nvPr/>
        </p:nvSpPr>
        <p:spPr>
          <a:xfrm>
            <a:off x="671785" y="4854767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50" name="Flowchart: Preparation 49">
            <a:extLst>
              <a:ext uri="{FF2B5EF4-FFF2-40B4-BE49-F238E27FC236}">
                <a16:creationId xmlns:a16="http://schemas.microsoft.com/office/drawing/2014/main" id="{0257C834-19BD-6713-21C9-B3E287B6003F}"/>
              </a:ext>
            </a:extLst>
          </p:cNvPr>
          <p:cNvSpPr/>
          <p:nvPr/>
        </p:nvSpPr>
        <p:spPr>
          <a:xfrm>
            <a:off x="671785" y="5632447"/>
            <a:ext cx="475085" cy="388557"/>
          </a:xfrm>
          <a:prstGeom prst="flowChartPreparati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BC96539-72EA-0853-3978-A60DE48430C2}"/>
              </a:ext>
            </a:extLst>
          </p:cNvPr>
          <p:cNvSpPr txBox="1"/>
          <p:nvPr/>
        </p:nvSpPr>
        <p:spPr>
          <a:xfrm>
            <a:off x="1335961" y="1549489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1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28570D5-8271-AE56-0A2C-5AB34DBE0141}"/>
              </a:ext>
            </a:extLst>
          </p:cNvPr>
          <p:cNvSpPr txBox="1"/>
          <p:nvPr/>
        </p:nvSpPr>
        <p:spPr>
          <a:xfrm>
            <a:off x="1335961" y="2327168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2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96589C4-9925-C1B0-F858-5DFE8F95DC4F}"/>
              </a:ext>
            </a:extLst>
          </p:cNvPr>
          <p:cNvSpPr txBox="1"/>
          <p:nvPr/>
        </p:nvSpPr>
        <p:spPr>
          <a:xfrm>
            <a:off x="1335961" y="3104847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3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FC2FC86-CD6F-0B62-8609-F2A5BB39C513}"/>
              </a:ext>
            </a:extLst>
          </p:cNvPr>
          <p:cNvSpPr txBox="1"/>
          <p:nvPr/>
        </p:nvSpPr>
        <p:spPr>
          <a:xfrm>
            <a:off x="1335961" y="3882526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4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F711D97-3E4C-108A-3053-05FC6482BB13}"/>
              </a:ext>
            </a:extLst>
          </p:cNvPr>
          <p:cNvSpPr txBox="1"/>
          <p:nvPr/>
        </p:nvSpPr>
        <p:spPr>
          <a:xfrm>
            <a:off x="1335961" y="4660205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5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92EBDDC-809A-2E43-50B8-E0D414662897}"/>
              </a:ext>
            </a:extLst>
          </p:cNvPr>
          <p:cNvSpPr txBox="1"/>
          <p:nvPr/>
        </p:nvSpPr>
        <p:spPr>
          <a:xfrm>
            <a:off x="1335961" y="5437886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6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390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Freeform 26">
            <a:extLst>
              <a:ext uri="{FF2B5EF4-FFF2-40B4-BE49-F238E27FC236}">
                <a16:creationId xmlns:a16="http://schemas.microsoft.com/office/drawing/2014/main" id="{D5B34B24-98DE-8594-D356-10BA224EB855}"/>
              </a:ext>
            </a:extLst>
          </p:cNvPr>
          <p:cNvSpPr/>
          <p:nvPr/>
        </p:nvSpPr>
        <p:spPr>
          <a:xfrm rot="21060606">
            <a:off x="1200537" y="1729281"/>
            <a:ext cx="2149064" cy="1505164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4" name="Freeform 27">
            <a:extLst>
              <a:ext uri="{FF2B5EF4-FFF2-40B4-BE49-F238E27FC236}">
                <a16:creationId xmlns:a16="http://schemas.microsoft.com/office/drawing/2014/main" id="{E6739E97-AA53-E2EC-607F-0787AA86BBEB}"/>
              </a:ext>
            </a:extLst>
          </p:cNvPr>
          <p:cNvSpPr/>
          <p:nvPr/>
        </p:nvSpPr>
        <p:spPr>
          <a:xfrm rot="3040685">
            <a:off x="2792151" y="1758425"/>
            <a:ext cx="2149064" cy="1505164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6" name="Freeform 24">
            <a:extLst>
              <a:ext uri="{FF2B5EF4-FFF2-40B4-BE49-F238E27FC236}">
                <a16:creationId xmlns:a16="http://schemas.microsoft.com/office/drawing/2014/main" id="{94A96DA6-7FD4-C1D7-DA45-0D42E8B3F2C6}"/>
              </a:ext>
            </a:extLst>
          </p:cNvPr>
          <p:cNvSpPr/>
          <p:nvPr/>
        </p:nvSpPr>
        <p:spPr>
          <a:xfrm rot="6624934">
            <a:off x="3585395" y="3163801"/>
            <a:ext cx="2149064" cy="1505164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7" name="Freeform 25">
            <a:extLst>
              <a:ext uri="{FF2B5EF4-FFF2-40B4-BE49-F238E27FC236}">
                <a16:creationId xmlns:a16="http://schemas.microsoft.com/office/drawing/2014/main" id="{E8603D5F-0984-8EE3-15A5-5B515084AF44}"/>
              </a:ext>
            </a:extLst>
          </p:cNvPr>
          <p:cNvSpPr/>
          <p:nvPr/>
        </p:nvSpPr>
        <p:spPr>
          <a:xfrm rot="10341217">
            <a:off x="2749234" y="4555354"/>
            <a:ext cx="2149064" cy="1505165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8" name="Freeform 22">
            <a:extLst>
              <a:ext uri="{FF2B5EF4-FFF2-40B4-BE49-F238E27FC236}">
                <a16:creationId xmlns:a16="http://schemas.microsoft.com/office/drawing/2014/main" id="{785C421F-56F2-2792-A647-48E9D86D4173}"/>
              </a:ext>
            </a:extLst>
          </p:cNvPr>
          <p:cNvSpPr/>
          <p:nvPr/>
        </p:nvSpPr>
        <p:spPr>
          <a:xfrm rot="13883841">
            <a:off x="1147645" y="4493675"/>
            <a:ext cx="2149064" cy="1505164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9" name="Freeform 23">
            <a:extLst>
              <a:ext uri="{FF2B5EF4-FFF2-40B4-BE49-F238E27FC236}">
                <a16:creationId xmlns:a16="http://schemas.microsoft.com/office/drawing/2014/main" id="{BF367AD2-A91D-3491-CEF8-A6A8326F9A94}"/>
              </a:ext>
            </a:extLst>
          </p:cNvPr>
          <p:cNvSpPr/>
          <p:nvPr/>
        </p:nvSpPr>
        <p:spPr>
          <a:xfrm rot="17448745">
            <a:off x="371665" y="3105238"/>
            <a:ext cx="2149064" cy="1505164"/>
          </a:xfrm>
          <a:custGeom>
            <a:avLst/>
            <a:gdLst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68514 h 602343"/>
              <a:gd name="connsiteX1" fmla="*/ 674914 w 801914"/>
              <a:gd name="connsiteY1" fmla="*/ 0 h 602343"/>
              <a:gd name="connsiteX2" fmla="*/ 801914 w 801914"/>
              <a:gd name="connsiteY2" fmla="*/ 250372 h 602343"/>
              <a:gd name="connsiteX3" fmla="*/ 664029 w 801914"/>
              <a:gd name="connsiteY3" fmla="*/ 475343 h 602343"/>
              <a:gd name="connsiteX4" fmla="*/ 337457 w 801914"/>
              <a:gd name="connsiteY4" fmla="*/ 602343 h 602343"/>
              <a:gd name="connsiteX5" fmla="*/ 283029 w 801914"/>
              <a:gd name="connsiteY5" fmla="*/ 351972 h 602343"/>
              <a:gd name="connsiteX6" fmla="*/ 0 w 801914"/>
              <a:gd name="connsiteY6" fmla="*/ 268514 h 602343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11621"/>
              <a:gd name="connsiteX1" fmla="*/ 674914 w 801914"/>
              <a:gd name="connsiteY1" fmla="*/ 9278 h 611621"/>
              <a:gd name="connsiteX2" fmla="*/ 801914 w 801914"/>
              <a:gd name="connsiteY2" fmla="*/ 259650 h 611621"/>
              <a:gd name="connsiteX3" fmla="*/ 664029 w 801914"/>
              <a:gd name="connsiteY3" fmla="*/ 484621 h 611621"/>
              <a:gd name="connsiteX4" fmla="*/ 337457 w 801914"/>
              <a:gd name="connsiteY4" fmla="*/ 611621 h 611621"/>
              <a:gd name="connsiteX5" fmla="*/ 283029 w 801914"/>
              <a:gd name="connsiteY5" fmla="*/ 361250 h 611621"/>
              <a:gd name="connsiteX6" fmla="*/ 0 w 801914"/>
              <a:gd name="connsiteY6" fmla="*/ 277792 h 611621"/>
              <a:gd name="connsiteX0" fmla="*/ 0 w 801914"/>
              <a:gd name="connsiteY0" fmla="*/ 277792 h 622795"/>
              <a:gd name="connsiteX1" fmla="*/ 674914 w 801914"/>
              <a:gd name="connsiteY1" fmla="*/ 9278 h 622795"/>
              <a:gd name="connsiteX2" fmla="*/ 801914 w 801914"/>
              <a:gd name="connsiteY2" fmla="*/ 259650 h 622795"/>
              <a:gd name="connsiteX3" fmla="*/ 664029 w 801914"/>
              <a:gd name="connsiteY3" fmla="*/ 484621 h 622795"/>
              <a:gd name="connsiteX4" fmla="*/ 340069 w 801914"/>
              <a:gd name="connsiteY4" fmla="*/ 622795 h 622795"/>
              <a:gd name="connsiteX5" fmla="*/ 283029 w 801914"/>
              <a:gd name="connsiteY5" fmla="*/ 361250 h 622795"/>
              <a:gd name="connsiteX6" fmla="*/ 0 w 801914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664029 w 893579"/>
              <a:gd name="connsiteY3" fmla="*/ 484621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7792 h 622795"/>
              <a:gd name="connsiteX1" fmla="*/ 674914 w 893579"/>
              <a:gd name="connsiteY1" fmla="*/ 9278 h 622795"/>
              <a:gd name="connsiteX2" fmla="*/ 893579 w 893579"/>
              <a:gd name="connsiteY2" fmla="*/ 253537 h 622795"/>
              <a:gd name="connsiteX3" fmla="*/ 734014 w 893579"/>
              <a:gd name="connsiteY3" fmla="*/ 476508 h 622795"/>
              <a:gd name="connsiteX4" fmla="*/ 340069 w 893579"/>
              <a:gd name="connsiteY4" fmla="*/ 622795 h 622795"/>
              <a:gd name="connsiteX5" fmla="*/ 283029 w 893579"/>
              <a:gd name="connsiteY5" fmla="*/ 361250 h 622795"/>
              <a:gd name="connsiteX6" fmla="*/ 0 w 893579"/>
              <a:gd name="connsiteY6" fmla="*/ 277792 h 622795"/>
              <a:gd name="connsiteX0" fmla="*/ 0 w 893579"/>
              <a:gd name="connsiteY0" fmla="*/ 279290 h 624293"/>
              <a:gd name="connsiteX1" fmla="*/ 777085 w 893579"/>
              <a:gd name="connsiteY1" fmla="*/ 9278 h 624293"/>
              <a:gd name="connsiteX2" fmla="*/ 893579 w 893579"/>
              <a:gd name="connsiteY2" fmla="*/ 255035 h 624293"/>
              <a:gd name="connsiteX3" fmla="*/ 734014 w 893579"/>
              <a:gd name="connsiteY3" fmla="*/ 478006 h 624293"/>
              <a:gd name="connsiteX4" fmla="*/ 340069 w 893579"/>
              <a:gd name="connsiteY4" fmla="*/ 624293 h 624293"/>
              <a:gd name="connsiteX5" fmla="*/ 283029 w 893579"/>
              <a:gd name="connsiteY5" fmla="*/ 362748 h 624293"/>
              <a:gd name="connsiteX6" fmla="*/ 0 w 893579"/>
              <a:gd name="connsiteY6" fmla="*/ 279290 h 624293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893579"/>
              <a:gd name="connsiteY0" fmla="*/ 312199 h 657202"/>
              <a:gd name="connsiteX1" fmla="*/ 777085 w 893579"/>
              <a:gd name="connsiteY1" fmla="*/ 42187 h 657202"/>
              <a:gd name="connsiteX2" fmla="*/ 893579 w 893579"/>
              <a:gd name="connsiteY2" fmla="*/ 287944 h 657202"/>
              <a:gd name="connsiteX3" fmla="*/ 734014 w 893579"/>
              <a:gd name="connsiteY3" fmla="*/ 510915 h 657202"/>
              <a:gd name="connsiteX4" fmla="*/ 340069 w 893579"/>
              <a:gd name="connsiteY4" fmla="*/ 657202 h 657202"/>
              <a:gd name="connsiteX5" fmla="*/ 283029 w 893579"/>
              <a:gd name="connsiteY5" fmla="*/ 395657 h 657202"/>
              <a:gd name="connsiteX6" fmla="*/ 0 w 893579"/>
              <a:gd name="connsiteY6" fmla="*/ 312199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392838 w 1003388"/>
              <a:gd name="connsiteY5" fmla="*/ 395657 h 657202"/>
              <a:gd name="connsiteX6" fmla="*/ 0 w 1003388"/>
              <a:gd name="connsiteY6" fmla="*/ 379321 h 657202"/>
              <a:gd name="connsiteX0" fmla="*/ 0 w 1003388"/>
              <a:gd name="connsiteY0" fmla="*/ 379321 h 657202"/>
              <a:gd name="connsiteX1" fmla="*/ 886894 w 1003388"/>
              <a:gd name="connsiteY1" fmla="*/ 42187 h 657202"/>
              <a:gd name="connsiteX2" fmla="*/ 1003388 w 1003388"/>
              <a:gd name="connsiteY2" fmla="*/ 287944 h 657202"/>
              <a:gd name="connsiteX3" fmla="*/ 843823 w 1003388"/>
              <a:gd name="connsiteY3" fmla="*/ 510915 h 657202"/>
              <a:gd name="connsiteX4" fmla="*/ 449878 w 1003388"/>
              <a:gd name="connsiteY4" fmla="*/ 657202 h 657202"/>
              <a:gd name="connsiteX5" fmla="*/ 290399 w 1003388"/>
              <a:gd name="connsiteY5" fmla="*/ 416188 h 657202"/>
              <a:gd name="connsiteX6" fmla="*/ 0 w 1003388"/>
              <a:gd name="connsiteY6" fmla="*/ 379321 h 657202"/>
              <a:gd name="connsiteX0" fmla="*/ 0 w 1003388"/>
              <a:gd name="connsiteY0" fmla="*/ 379321 h 673967"/>
              <a:gd name="connsiteX1" fmla="*/ 886894 w 1003388"/>
              <a:gd name="connsiteY1" fmla="*/ 42187 h 673967"/>
              <a:gd name="connsiteX2" fmla="*/ 1003388 w 1003388"/>
              <a:gd name="connsiteY2" fmla="*/ 287944 h 673967"/>
              <a:gd name="connsiteX3" fmla="*/ 843823 w 1003388"/>
              <a:gd name="connsiteY3" fmla="*/ 510915 h 673967"/>
              <a:gd name="connsiteX4" fmla="*/ 370078 w 1003388"/>
              <a:gd name="connsiteY4" fmla="*/ 673967 h 673967"/>
              <a:gd name="connsiteX5" fmla="*/ 290399 w 1003388"/>
              <a:gd name="connsiteY5" fmla="*/ 416188 h 673967"/>
              <a:gd name="connsiteX6" fmla="*/ 0 w 1003388"/>
              <a:gd name="connsiteY6" fmla="*/ 379321 h 673967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420798 h 715444"/>
              <a:gd name="connsiteX1" fmla="*/ 886894 w 1003388"/>
              <a:gd name="connsiteY1" fmla="*/ 83664 h 715444"/>
              <a:gd name="connsiteX2" fmla="*/ 1003388 w 1003388"/>
              <a:gd name="connsiteY2" fmla="*/ 329421 h 715444"/>
              <a:gd name="connsiteX3" fmla="*/ 843823 w 1003388"/>
              <a:gd name="connsiteY3" fmla="*/ 552392 h 715444"/>
              <a:gd name="connsiteX4" fmla="*/ 370078 w 1003388"/>
              <a:gd name="connsiteY4" fmla="*/ 715444 h 715444"/>
              <a:gd name="connsiteX5" fmla="*/ 290399 w 1003388"/>
              <a:gd name="connsiteY5" fmla="*/ 457665 h 715444"/>
              <a:gd name="connsiteX6" fmla="*/ 0 w 1003388"/>
              <a:gd name="connsiteY6" fmla="*/ 420798 h 715444"/>
              <a:gd name="connsiteX0" fmla="*/ 0 w 1003388"/>
              <a:gd name="connsiteY0" fmla="*/ 392717 h 687363"/>
              <a:gd name="connsiteX1" fmla="*/ 886894 w 1003388"/>
              <a:gd name="connsiteY1" fmla="*/ 55583 h 687363"/>
              <a:gd name="connsiteX2" fmla="*/ 1003388 w 1003388"/>
              <a:gd name="connsiteY2" fmla="*/ 301340 h 687363"/>
              <a:gd name="connsiteX3" fmla="*/ 843823 w 1003388"/>
              <a:gd name="connsiteY3" fmla="*/ 524311 h 687363"/>
              <a:gd name="connsiteX4" fmla="*/ 370078 w 1003388"/>
              <a:gd name="connsiteY4" fmla="*/ 687363 h 687363"/>
              <a:gd name="connsiteX5" fmla="*/ 290399 w 1003388"/>
              <a:gd name="connsiteY5" fmla="*/ 429584 h 687363"/>
              <a:gd name="connsiteX6" fmla="*/ 0 w 1003388"/>
              <a:gd name="connsiteY6" fmla="*/ 392717 h 687363"/>
              <a:gd name="connsiteX0" fmla="*/ 0 w 1003388"/>
              <a:gd name="connsiteY0" fmla="*/ 392252 h 686898"/>
              <a:gd name="connsiteX1" fmla="*/ 886894 w 1003388"/>
              <a:gd name="connsiteY1" fmla="*/ 55118 h 686898"/>
              <a:gd name="connsiteX2" fmla="*/ 1003388 w 1003388"/>
              <a:gd name="connsiteY2" fmla="*/ 300875 h 686898"/>
              <a:gd name="connsiteX3" fmla="*/ 843823 w 1003388"/>
              <a:gd name="connsiteY3" fmla="*/ 523846 h 686898"/>
              <a:gd name="connsiteX4" fmla="*/ 370078 w 1003388"/>
              <a:gd name="connsiteY4" fmla="*/ 686898 h 686898"/>
              <a:gd name="connsiteX5" fmla="*/ 290399 w 1003388"/>
              <a:gd name="connsiteY5" fmla="*/ 429119 h 686898"/>
              <a:gd name="connsiteX6" fmla="*/ 0 w 1003388"/>
              <a:gd name="connsiteY6" fmla="*/ 392252 h 686898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  <a:gd name="connsiteX0" fmla="*/ 0 w 1003388"/>
              <a:gd name="connsiteY0" fmla="*/ 408108 h 702754"/>
              <a:gd name="connsiteX1" fmla="*/ 886894 w 1003388"/>
              <a:gd name="connsiteY1" fmla="*/ 70974 h 702754"/>
              <a:gd name="connsiteX2" fmla="*/ 1003388 w 1003388"/>
              <a:gd name="connsiteY2" fmla="*/ 316731 h 702754"/>
              <a:gd name="connsiteX3" fmla="*/ 843823 w 1003388"/>
              <a:gd name="connsiteY3" fmla="*/ 539702 h 702754"/>
              <a:gd name="connsiteX4" fmla="*/ 370078 w 1003388"/>
              <a:gd name="connsiteY4" fmla="*/ 702754 h 702754"/>
              <a:gd name="connsiteX5" fmla="*/ 290399 w 1003388"/>
              <a:gd name="connsiteY5" fmla="*/ 444975 h 702754"/>
              <a:gd name="connsiteX6" fmla="*/ 0 w 1003388"/>
              <a:gd name="connsiteY6" fmla="*/ 408108 h 70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3388" h="702754">
                <a:moveTo>
                  <a:pt x="0" y="408108"/>
                </a:moveTo>
                <a:cubicBezTo>
                  <a:pt x="152314" y="175885"/>
                  <a:pt x="579788" y="0"/>
                  <a:pt x="886894" y="70974"/>
                </a:cubicBezTo>
                <a:lnTo>
                  <a:pt x="1003388" y="316731"/>
                </a:lnTo>
                <a:lnTo>
                  <a:pt x="843823" y="539702"/>
                </a:lnTo>
                <a:cubicBezTo>
                  <a:pt x="688621" y="504763"/>
                  <a:pt x="473878" y="571458"/>
                  <a:pt x="370078" y="702754"/>
                </a:cubicBezTo>
                <a:lnTo>
                  <a:pt x="290399" y="444975"/>
                </a:lnTo>
                <a:lnTo>
                  <a:pt x="0" y="408108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056367-509A-ED96-75F9-3438323DDBCA}"/>
              </a:ext>
            </a:extLst>
          </p:cNvPr>
          <p:cNvSpPr txBox="1"/>
          <p:nvPr/>
        </p:nvSpPr>
        <p:spPr>
          <a:xfrm>
            <a:off x="2027163" y="2013363"/>
            <a:ext cx="755527" cy="74742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</a:rPr>
              <a:t>Enter Text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F3953E-010A-186E-E189-C35E27B31125}"/>
              </a:ext>
            </a:extLst>
          </p:cNvPr>
          <p:cNvSpPr txBox="1"/>
          <p:nvPr/>
        </p:nvSpPr>
        <p:spPr>
          <a:xfrm>
            <a:off x="2657000" y="189744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71F8A7-7983-8ABE-1146-6647CD12AB05}"/>
              </a:ext>
            </a:extLst>
          </p:cNvPr>
          <p:cNvSpPr txBox="1"/>
          <p:nvPr/>
        </p:nvSpPr>
        <p:spPr>
          <a:xfrm>
            <a:off x="3398099" y="1924277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CB32BD-9BB2-2731-E028-571D636E5A28}"/>
              </a:ext>
            </a:extLst>
          </p:cNvPr>
          <p:cNvSpPr txBox="1"/>
          <p:nvPr/>
        </p:nvSpPr>
        <p:spPr>
          <a:xfrm>
            <a:off x="3557244" y="2237274"/>
            <a:ext cx="1057939" cy="5813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</a:rPr>
              <a:t>Enter Text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ACABE-6C72-519C-439C-3F1D23E82E05}"/>
              </a:ext>
            </a:extLst>
          </p:cNvPr>
          <p:cNvSpPr txBox="1"/>
          <p:nvPr/>
        </p:nvSpPr>
        <p:spPr>
          <a:xfrm>
            <a:off x="4431720" y="3373463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E98419-3146-B294-6F77-498661084BDD}"/>
              </a:ext>
            </a:extLst>
          </p:cNvPr>
          <p:cNvSpPr txBox="1"/>
          <p:nvPr/>
        </p:nvSpPr>
        <p:spPr>
          <a:xfrm>
            <a:off x="4164463" y="3764709"/>
            <a:ext cx="1057939" cy="5813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</a:rPr>
              <a:t>Enter Text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C802CF4-7B3E-A573-C3AA-60C4EDC2902F}"/>
              </a:ext>
            </a:extLst>
          </p:cNvPr>
          <p:cNvSpPr txBox="1"/>
          <p:nvPr/>
        </p:nvSpPr>
        <p:spPr>
          <a:xfrm>
            <a:off x="3811018" y="496566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4089A6-6002-ED8B-D9F0-96C931F1655C}"/>
              </a:ext>
            </a:extLst>
          </p:cNvPr>
          <p:cNvSpPr txBox="1"/>
          <p:nvPr/>
        </p:nvSpPr>
        <p:spPr>
          <a:xfrm>
            <a:off x="3187671" y="5062688"/>
            <a:ext cx="755527" cy="74742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</a:rPr>
              <a:t>Enter Text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CFBA11-AF55-37BD-592C-D5B3CA1DC5E0}"/>
              </a:ext>
            </a:extLst>
          </p:cNvPr>
          <p:cNvSpPr txBox="1"/>
          <p:nvPr/>
        </p:nvSpPr>
        <p:spPr>
          <a:xfrm>
            <a:off x="2217805" y="5342319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239683-6B95-2E1B-E17D-371731B3F039}"/>
              </a:ext>
            </a:extLst>
          </p:cNvPr>
          <p:cNvSpPr txBox="1"/>
          <p:nvPr/>
        </p:nvSpPr>
        <p:spPr>
          <a:xfrm>
            <a:off x="1465684" y="4841423"/>
            <a:ext cx="1057939" cy="5813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2"/>
                </a:solidFill>
              </a:rPr>
              <a:t>Enter Text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DC8C9C8-0B9A-B919-43C3-E69BA0F9EF3F}"/>
              </a:ext>
            </a:extLst>
          </p:cNvPr>
          <p:cNvSpPr txBox="1"/>
          <p:nvPr/>
        </p:nvSpPr>
        <p:spPr>
          <a:xfrm>
            <a:off x="1197919" y="3859397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C8D069-71EA-30A6-A3B0-72608C2383AD}"/>
              </a:ext>
            </a:extLst>
          </p:cNvPr>
          <p:cNvSpPr txBox="1"/>
          <p:nvPr/>
        </p:nvSpPr>
        <p:spPr>
          <a:xfrm>
            <a:off x="904206" y="3358501"/>
            <a:ext cx="1057939" cy="5813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IN" sz="1200" dirty="0">
                <a:solidFill>
                  <a:schemeClr val="bg1"/>
                </a:solidFill>
              </a:rPr>
              <a:t>Enter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BD8A1D-741E-B73A-BF50-CACD0C9E2318}"/>
              </a:ext>
            </a:extLst>
          </p:cNvPr>
          <p:cNvSpPr txBox="1"/>
          <p:nvPr/>
        </p:nvSpPr>
        <p:spPr>
          <a:xfrm>
            <a:off x="2296989" y="3719932"/>
            <a:ext cx="15703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IN" sz="2000" b="1" dirty="0">
                <a:solidFill>
                  <a:schemeClr val="bg2"/>
                </a:solidFill>
              </a:rPr>
              <a:t>Lorem Ipsum</a:t>
            </a: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C985F9B9-DDDB-8E01-7554-572C5044111E}"/>
              </a:ext>
            </a:extLst>
          </p:cNvPr>
          <p:cNvSpPr/>
          <p:nvPr/>
        </p:nvSpPr>
        <p:spPr>
          <a:xfrm rot="5400000">
            <a:off x="5905805" y="1666920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E9A74D88-332E-DD5C-4654-95FCDD54DD65}"/>
              </a:ext>
            </a:extLst>
          </p:cNvPr>
          <p:cNvSpPr/>
          <p:nvPr/>
        </p:nvSpPr>
        <p:spPr>
          <a:xfrm rot="5400000">
            <a:off x="5905805" y="2444599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9F648F1D-85B8-9CCB-27F8-89ADE7FB1B94}"/>
              </a:ext>
            </a:extLst>
          </p:cNvPr>
          <p:cNvSpPr/>
          <p:nvPr/>
        </p:nvSpPr>
        <p:spPr>
          <a:xfrm rot="5400000">
            <a:off x="5905805" y="3222278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A80BA8FF-B52A-4695-D034-0046E123C5C1}"/>
              </a:ext>
            </a:extLst>
          </p:cNvPr>
          <p:cNvSpPr/>
          <p:nvPr/>
        </p:nvSpPr>
        <p:spPr>
          <a:xfrm rot="5400000">
            <a:off x="5905805" y="3999957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D593D5D6-5B44-885B-1956-D10F536C298C}"/>
              </a:ext>
            </a:extLst>
          </p:cNvPr>
          <p:cNvSpPr/>
          <p:nvPr/>
        </p:nvSpPr>
        <p:spPr>
          <a:xfrm rot="5400000">
            <a:off x="5905805" y="4777636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2365F4C9-8CCD-1BAD-D096-706FA5BB766E}"/>
              </a:ext>
            </a:extLst>
          </p:cNvPr>
          <p:cNvSpPr/>
          <p:nvPr/>
        </p:nvSpPr>
        <p:spPr>
          <a:xfrm rot="5400000">
            <a:off x="5905805" y="5555317"/>
            <a:ext cx="365760" cy="36576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1769ABF-552D-6368-CB07-36B66AAA01CA}"/>
              </a:ext>
            </a:extLst>
          </p:cNvPr>
          <p:cNvSpPr txBox="1"/>
          <p:nvPr/>
        </p:nvSpPr>
        <p:spPr>
          <a:xfrm>
            <a:off x="6381298" y="1460961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1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EBAF52-921A-83A1-8B9E-22FA3ABA07FD}"/>
              </a:ext>
            </a:extLst>
          </p:cNvPr>
          <p:cNvSpPr txBox="1"/>
          <p:nvPr/>
        </p:nvSpPr>
        <p:spPr>
          <a:xfrm>
            <a:off x="6381298" y="2238640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2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66D749C-53CE-C4E1-A25D-0AA86BB7B677}"/>
              </a:ext>
            </a:extLst>
          </p:cNvPr>
          <p:cNvSpPr txBox="1"/>
          <p:nvPr/>
        </p:nvSpPr>
        <p:spPr>
          <a:xfrm>
            <a:off x="6381298" y="3016319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3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6C7E275-F740-3D69-E5DB-90E1BADA4C71}"/>
              </a:ext>
            </a:extLst>
          </p:cNvPr>
          <p:cNvSpPr txBox="1"/>
          <p:nvPr/>
        </p:nvSpPr>
        <p:spPr>
          <a:xfrm>
            <a:off x="6381298" y="3793998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4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395EB00-CECB-1711-0F62-485504F69856}"/>
              </a:ext>
            </a:extLst>
          </p:cNvPr>
          <p:cNvSpPr txBox="1"/>
          <p:nvPr/>
        </p:nvSpPr>
        <p:spPr>
          <a:xfrm>
            <a:off x="6381298" y="4571677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5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786B81D-1D8E-7F69-C4F9-2F82C389C609}"/>
              </a:ext>
            </a:extLst>
          </p:cNvPr>
          <p:cNvSpPr txBox="1"/>
          <p:nvPr/>
        </p:nvSpPr>
        <p:spPr>
          <a:xfrm>
            <a:off x="6381298" y="5349358"/>
            <a:ext cx="5224918" cy="777679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 6: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6812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2FF5C05-6B64-FDDD-B977-2A7778EF3E42}"/>
              </a:ext>
            </a:extLst>
          </p:cNvPr>
          <p:cNvSpPr/>
          <p:nvPr/>
        </p:nvSpPr>
        <p:spPr bwMode="auto">
          <a:xfrm>
            <a:off x="7869901" y="2746692"/>
            <a:ext cx="2197100" cy="2197100"/>
          </a:xfrm>
          <a:prstGeom prst="ellipse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8000">
                <a:schemeClr val="bg1">
                  <a:lumMod val="75000"/>
                </a:schemeClr>
              </a:gs>
            </a:gsLst>
            <a:path path="circle">
              <a:fillToRect l="50000" t="50000" r="50000" b="50000"/>
            </a:path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968EF71-C2E4-6393-0386-7DCA3E2CD814}"/>
              </a:ext>
            </a:extLst>
          </p:cNvPr>
          <p:cNvGrpSpPr/>
          <p:nvPr/>
        </p:nvGrpSpPr>
        <p:grpSpPr>
          <a:xfrm>
            <a:off x="8164579" y="3041370"/>
            <a:ext cx="1607744" cy="1607744"/>
            <a:chOff x="8148395" y="3217333"/>
            <a:chExt cx="1320800" cy="1320800"/>
          </a:xfrm>
        </p:grpSpPr>
        <p:sp>
          <p:nvSpPr>
            <p:cNvPr id="10" name="Oval 95">
              <a:extLst>
                <a:ext uri="{FF2B5EF4-FFF2-40B4-BE49-F238E27FC236}">
                  <a16:creationId xmlns:a16="http://schemas.microsoft.com/office/drawing/2014/main" id="{F438E057-2021-275C-C497-35A736C7F97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48395" y="3217333"/>
              <a:ext cx="1320800" cy="1320800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 altLang="en-US">
                <a:solidFill>
                  <a:schemeClr val="bg2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" name="Picture 96">
              <a:extLst>
                <a:ext uri="{FF2B5EF4-FFF2-40B4-BE49-F238E27FC236}">
                  <a16:creationId xmlns:a16="http://schemas.microsoft.com/office/drawing/2014/main" id="{6888460C-AC3C-924B-2EDD-9EA84D5A92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428565" y="3225030"/>
              <a:ext cx="760461" cy="407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722468B-EC63-511F-511B-FC957A9490D0}"/>
                </a:ext>
              </a:extLst>
            </p:cNvPr>
            <p:cNvSpPr txBox="1"/>
            <p:nvPr/>
          </p:nvSpPr>
          <p:spPr>
            <a:xfrm>
              <a:off x="8378010" y="3594450"/>
              <a:ext cx="874056" cy="4804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Enter Text </a:t>
              </a:r>
            </a:p>
            <a:p>
              <a:pPr algn="ctr"/>
              <a:r>
                <a:rPr lang="en-US" sz="1600" dirty="0">
                  <a:solidFill>
                    <a:schemeClr val="bg2"/>
                  </a:solidFill>
                  <a:latin typeface="+mn-lt"/>
                </a:rPr>
                <a:t>Here</a:t>
              </a: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121BA95A-21B0-D21F-24B3-8AAE15911414}"/>
              </a:ext>
            </a:extLst>
          </p:cNvPr>
          <p:cNvSpPr/>
          <p:nvPr/>
        </p:nvSpPr>
        <p:spPr bwMode="auto">
          <a:xfrm>
            <a:off x="8367469" y="1549480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08F7A7FC-BE3B-907A-70C9-6838B1A1F72C}"/>
              </a:ext>
            </a:extLst>
          </p:cNvPr>
          <p:cNvSpPr/>
          <p:nvPr/>
        </p:nvSpPr>
        <p:spPr bwMode="auto">
          <a:xfrm rot="8100000">
            <a:off x="8477196" y="1655125"/>
            <a:ext cx="1005840" cy="1005840"/>
          </a:xfrm>
          <a:prstGeom prst="teardrop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91000">
                <a:schemeClr val="accent1"/>
              </a:gs>
            </a:gsLst>
            <a:path path="circle">
              <a:fillToRect l="50000" t="50000" r="50000" b="50000"/>
            </a:path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8BF93F-D183-6C51-C971-74A121E5316B}"/>
              </a:ext>
            </a:extLst>
          </p:cNvPr>
          <p:cNvSpPr txBox="1"/>
          <p:nvPr/>
        </p:nvSpPr>
        <p:spPr>
          <a:xfrm>
            <a:off x="8526627" y="1915575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50415BA-0239-EC79-F640-48484AF493C7}"/>
              </a:ext>
            </a:extLst>
          </p:cNvPr>
          <p:cNvSpPr/>
          <p:nvPr/>
        </p:nvSpPr>
        <p:spPr bwMode="auto">
          <a:xfrm>
            <a:off x="9579804" y="2051645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27" name="Teardrop 26">
            <a:extLst>
              <a:ext uri="{FF2B5EF4-FFF2-40B4-BE49-F238E27FC236}">
                <a16:creationId xmlns:a16="http://schemas.microsoft.com/office/drawing/2014/main" id="{DD6E5CC4-1933-66A1-1B7D-9C7C3982B415}"/>
              </a:ext>
            </a:extLst>
          </p:cNvPr>
          <p:cNvSpPr/>
          <p:nvPr/>
        </p:nvSpPr>
        <p:spPr bwMode="auto">
          <a:xfrm rot="10800000">
            <a:off x="9683181" y="2141790"/>
            <a:ext cx="1005840" cy="1005840"/>
          </a:xfrm>
          <a:prstGeom prst="teardrop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4D1B93-0D8D-336A-67AE-877E413D6940}"/>
              </a:ext>
            </a:extLst>
          </p:cNvPr>
          <p:cNvSpPr txBox="1"/>
          <p:nvPr/>
        </p:nvSpPr>
        <p:spPr>
          <a:xfrm>
            <a:off x="9728070" y="2414940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9982268-AD17-A57A-E850-7585567E3D06}"/>
              </a:ext>
            </a:extLst>
          </p:cNvPr>
          <p:cNvSpPr/>
          <p:nvPr/>
        </p:nvSpPr>
        <p:spPr bwMode="auto">
          <a:xfrm>
            <a:off x="10081969" y="3263980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31" name="Teardrop 30">
            <a:extLst>
              <a:ext uri="{FF2B5EF4-FFF2-40B4-BE49-F238E27FC236}">
                <a16:creationId xmlns:a16="http://schemas.microsoft.com/office/drawing/2014/main" id="{E1C41D0D-F445-2349-8504-840A892C0F16}"/>
              </a:ext>
            </a:extLst>
          </p:cNvPr>
          <p:cNvSpPr/>
          <p:nvPr/>
        </p:nvSpPr>
        <p:spPr bwMode="auto">
          <a:xfrm rot="13500000">
            <a:off x="10203922" y="3353127"/>
            <a:ext cx="1005840" cy="1005840"/>
          </a:xfrm>
          <a:prstGeom prst="teardrop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91000">
                <a:schemeClr val="accent1"/>
              </a:gs>
            </a:gsLst>
            <a:path path="circle">
              <a:fillToRect l="50000" t="50000" r="50000" b="50000"/>
            </a:path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B881080-ED1A-6406-C5A4-107B35C54866}"/>
              </a:ext>
            </a:extLst>
          </p:cNvPr>
          <p:cNvSpPr txBox="1"/>
          <p:nvPr/>
        </p:nvSpPr>
        <p:spPr>
          <a:xfrm>
            <a:off x="10242461" y="3622353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BD20AEB-0457-87EE-97F0-AA47DAB2D256}"/>
              </a:ext>
            </a:extLst>
          </p:cNvPr>
          <p:cNvSpPr/>
          <p:nvPr/>
        </p:nvSpPr>
        <p:spPr bwMode="auto">
          <a:xfrm>
            <a:off x="9579804" y="4476315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35" name="Teardrop 34">
            <a:extLst>
              <a:ext uri="{FF2B5EF4-FFF2-40B4-BE49-F238E27FC236}">
                <a16:creationId xmlns:a16="http://schemas.microsoft.com/office/drawing/2014/main" id="{0310C60B-13E9-4FAB-7A3F-6060772A7A14}"/>
              </a:ext>
            </a:extLst>
          </p:cNvPr>
          <p:cNvSpPr/>
          <p:nvPr/>
        </p:nvSpPr>
        <p:spPr bwMode="auto">
          <a:xfrm rot="16200000">
            <a:off x="9693213" y="4571034"/>
            <a:ext cx="1005840" cy="1005840"/>
          </a:xfrm>
          <a:prstGeom prst="teardrop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5F0C2BE-1C79-6FCC-58D3-9B878A2A3403}"/>
              </a:ext>
            </a:extLst>
          </p:cNvPr>
          <p:cNvSpPr txBox="1"/>
          <p:nvPr/>
        </p:nvSpPr>
        <p:spPr>
          <a:xfrm>
            <a:off x="9738102" y="4826990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55FF21B-4189-375E-055C-5E97EEC54411}"/>
              </a:ext>
            </a:extLst>
          </p:cNvPr>
          <p:cNvSpPr/>
          <p:nvPr/>
        </p:nvSpPr>
        <p:spPr bwMode="auto">
          <a:xfrm>
            <a:off x="8367469" y="4978480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39" name="Teardrop 38">
            <a:extLst>
              <a:ext uri="{FF2B5EF4-FFF2-40B4-BE49-F238E27FC236}">
                <a16:creationId xmlns:a16="http://schemas.microsoft.com/office/drawing/2014/main" id="{1CFB7D27-6106-DF79-BF4D-E5CAB44BA485}"/>
              </a:ext>
            </a:extLst>
          </p:cNvPr>
          <p:cNvSpPr/>
          <p:nvPr/>
        </p:nvSpPr>
        <p:spPr bwMode="auto">
          <a:xfrm rot="18900000">
            <a:off x="8472912" y="5080327"/>
            <a:ext cx="1005840" cy="1005840"/>
          </a:xfrm>
          <a:prstGeom prst="teardrop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91000">
                <a:schemeClr val="accent1"/>
              </a:gs>
            </a:gsLst>
            <a:path path="circle">
              <a:fillToRect l="50000" t="50000" r="50000" b="50000"/>
            </a:path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6C222C9-5417-21D7-5ABD-C8B1B6CB57BD}"/>
              </a:ext>
            </a:extLst>
          </p:cNvPr>
          <p:cNvSpPr txBox="1"/>
          <p:nvPr/>
        </p:nvSpPr>
        <p:spPr>
          <a:xfrm>
            <a:off x="8511450" y="5354405"/>
            <a:ext cx="925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53993C2-5C96-DF84-EE7C-8066B1F74514}"/>
              </a:ext>
            </a:extLst>
          </p:cNvPr>
          <p:cNvSpPr/>
          <p:nvPr/>
        </p:nvSpPr>
        <p:spPr bwMode="auto">
          <a:xfrm>
            <a:off x="7155134" y="4476315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43" name="Teardrop 42">
            <a:extLst>
              <a:ext uri="{FF2B5EF4-FFF2-40B4-BE49-F238E27FC236}">
                <a16:creationId xmlns:a16="http://schemas.microsoft.com/office/drawing/2014/main" id="{D9016E45-8A0D-27B9-6CD4-5E01A48E71B3}"/>
              </a:ext>
            </a:extLst>
          </p:cNvPr>
          <p:cNvSpPr/>
          <p:nvPr/>
        </p:nvSpPr>
        <p:spPr bwMode="auto">
          <a:xfrm>
            <a:off x="7260577" y="4569272"/>
            <a:ext cx="1005840" cy="1005840"/>
          </a:xfrm>
          <a:prstGeom prst="teardrop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38A341D-233F-8ECF-5A7B-6088413D9F56}"/>
              </a:ext>
            </a:extLst>
          </p:cNvPr>
          <p:cNvSpPr txBox="1"/>
          <p:nvPr/>
        </p:nvSpPr>
        <p:spPr>
          <a:xfrm>
            <a:off x="7311816" y="4859046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0E089C8-37E0-2D7C-CA80-F38164E8CC68}"/>
              </a:ext>
            </a:extLst>
          </p:cNvPr>
          <p:cNvSpPr/>
          <p:nvPr/>
        </p:nvSpPr>
        <p:spPr bwMode="auto">
          <a:xfrm>
            <a:off x="6652969" y="3263980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47" name="Teardrop 46">
            <a:extLst>
              <a:ext uri="{FF2B5EF4-FFF2-40B4-BE49-F238E27FC236}">
                <a16:creationId xmlns:a16="http://schemas.microsoft.com/office/drawing/2014/main" id="{5D8537A4-239F-EB9A-9840-B98F060A133E}"/>
              </a:ext>
            </a:extLst>
          </p:cNvPr>
          <p:cNvSpPr/>
          <p:nvPr/>
        </p:nvSpPr>
        <p:spPr bwMode="auto">
          <a:xfrm rot="2700000">
            <a:off x="6750242" y="3358448"/>
            <a:ext cx="1005840" cy="1005840"/>
          </a:xfrm>
          <a:prstGeom prst="teardrop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91000">
                <a:schemeClr val="accent1"/>
              </a:gs>
            </a:gsLst>
            <a:path path="circle">
              <a:fillToRect l="50000" t="50000" r="50000" b="50000"/>
            </a:path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120E341-7188-D939-74D7-A201890FDCB2}"/>
              </a:ext>
            </a:extLst>
          </p:cNvPr>
          <p:cNvSpPr txBox="1"/>
          <p:nvPr/>
        </p:nvSpPr>
        <p:spPr>
          <a:xfrm>
            <a:off x="6796738" y="3626176"/>
            <a:ext cx="9476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0DAA68D-0B22-B097-568D-EE5A56B21B9A}"/>
              </a:ext>
            </a:extLst>
          </p:cNvPr>
          <p:cNvSpPr/>
          <p:nvPr/>
        </p:nvSpPr>
        <p:spPr bwMode="auto">
          <a:xfrm>
            <a:off x="7155134" y="2051645"/>
            <a:ext cx="1225296" cy="1225296"/>
          </a:xfrm>
          <a:prstGeom prst="ellipse">
            <a:avLst/>
          </a:prstGeom>
          <a:solidFill>
            <a:srgbClr val="CDCD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51" name="Teardrop 50">
            <a:extLst>
              <a:ext uri="{FF2B5EF4-FFF2-40B4-BE49-F238E27FC236}">
                <a16:creationId xmlns:a16="http://schemas.microsoft.com/office/drawing/2014/main" id="{D69F7E3D-BDCF-7373-C240-74463E335695}"/>
              </a:ext>
            </a:extLst>
          </p:cNvPr>
          <p:cNvSpPr/>
          <p:nvPr/>
        </p:nvSpPr>
        <p:spPr bwMode="auto">
          <a:xfrm rot="5400000">
            <a:off x="7267100" y="2138072"/>
            <a:ext cx="1005840" cy="1005840"/>
          </a:xfrm>
          <a:prstGeom prst="teardrop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8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0CE9805-B778-BDCA-A416-3A10DDE88431}"/>
              </a:ext>
            </a:extLst>
          </p:cNvPr>
          <p:cNvSpPr txBox="1"/>
          <p:nvPr/>
        </p:nvSpPr>
        <p:spPr>
          <a:xfrm>
            <a:off x="7286589" y="2407298"/>
            <a:ext cx="9255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Enter Text</a:t>
            </a:r>
          </a:p>
          <a:p>
            <a:pPr algn="ctr"/>
            <a:r>
              <a:rPr lang="en-US" sz="1400" b="1" dirty="0">
                <a:solidFill>
                  <a:schemeClr val="bg2"/>
                </a:solidFill>
                <a:latin typeface="+mn-lt"/>
              </a:rPr>
              <a:t>Her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DE880A3-A059-F41F-BA4D-BB39ACE6EFED}"/>
              </a:ext>
            </a:extLst>
          </p:cNvPr>
          <p:cNvSpPr/>
          <p:nvPr/>
        </p:nvSpPr>
        <p:spPr>
          <a:xfrm>
            <a:off x="769348" y="1824332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BCA3886-E2DE-3109-0ABA-716A23A578B9}"/>
              </a:ext>
            </a:extLst>
          </p:cNvPr>
          <p:cNvSpPr/>
          <p:nvPr/>
        </p:nvSpPr>
        <p:spPr>
          <a:xfrm>
            <a:off x="769348" y="2373371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7229713-F1D5-1A03-F0CD-56F0814FEE5F}"/>
              </a:ext>
            </a:extLst>
          </p:cNvPr>
          <p:cNvSpPr/>
          <p:nvPr/>
        </p:nvSpPr>
        <p:spPr>
          <a:xfrm>
            <a:off x="769348" y="2922410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87BE3A5-1172-3058-C36C-24B8AF05D3A8}"/>
              </a:ext>
            </a:extLst>
          </p:cNvPr>
          <p:cNvSpPr/>
          <p:nvPr/>
        </p:nvSpPr>
        <p:spPr>
          <a:xfrm>
            <a:off x="769348" y="3471449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65301C21-3967-A60C-FF62-981838E7FEC1}"/>
              </a:ext>
            </a:extLst>
          </p:cNvPr>
          <p:cNvSpPr/>
          <p:nvPr/>
        </p:nvSpPr>
        <p:spPr>
          <a:xfrm>
            <a:off x="769348" y="4020488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EF720F9-3321-2304-81CB-05DE20D04CA7}"/>
              </a:ext>
            </a:extLst>
          </p:cNvPr>
          <p:cNvSpPr/>
          <p:nvPr/>
        </p:nvSpPr>
        <p:spPr>
          <a:xfrm>
            <a:off x="769348" y="5667605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D499C87-E0D7-475C-632E-95E9FB39AC57}"/>
              </a:ext>
            </a:extLst>
          </p:cNvPr>
          <p:cNvSpPr/>
          <p:nvPr/>
        </p:nvSpPr>
        <p:spPr>
          <a:xfrm>
            <a:off x="769348" y="5118566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83F1DB2-54EC-FA79-BD49-33571E140202}"/>
              </a:ext>
            </a:extLst>
          </p:cNvPr>
          <p:cNvSpPr/>
          <p:nvPr/>
        </p:nvSpPr>
        <p:spPr>
          <a:xfrm>
            <a:off x="769348" y="4569527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9E90AD6-5860-C931-6E79-B5B236A308B0}"/>
              </a:ext>
            </a:extLst>
          </p:cNvPr>
          <p:cNvSpPr txBox="1"/>
          <p:nvPr/>
        </p:nvSpPr>
        <p:spPr>
          <a:xfrm>
            <a:off x="1152851" y="1755885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85783A1-CDFA-0273-0F52-C05CBC235DF8}"/>
              </a:ext>
            </a:extLst>
          </p:cNvPr>
          <p:cNvSpPr txBox="1">
            <a:spLocks/>
          </p:cNvSpPr>
          <p:nvPr/>
        </p:nvSpPr>
        <p:spPr>
          <a:xfrm>
            <a:off x="1152852" y="2304924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8953B54-314A-DEBA-BE29-80474BDE7D66}"/>
              </a:ext>
            </a:extLst>
          </p:cNvPr>
          <p:cNvSpPr txBox="1">
            <a:spLocks/>
          </p:cNvSpPr>
          <p:nvPr/>
        </p:nvSpPr>
        <p:spPr>
          <a:xfrm>
            <a:off x="1152852" y="2853963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5A6C31A-A995-8C38-D696-007892035712}"/>
              </a:ext>
            </a:extLst>
          </p:cNvPr>
          <p:cNvSpPr txBox="1">
            <a:spLocks/>
          </p:cNvSpPr>
          <p:nvPr/>
        </p:nvSpPr>
        <p:spPr>
          <a:xfrm>
            <a:off x="1152852" y="3403002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D8D5F94-5649-5651-1EF3-20AAA76C999F}"/>
              </a:ext>
            </a:extLst>
          </p:cNvPr>
          <p:cNvSpPr txBox="1">
            <a:spLocks/>
          </p:cNvSpPr>
          <p:nvPr/>
        </p:nvSpPr>
        <p:spPr>
          <a:xfrm>
            <a:off x="1152852" y="3952041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2E5D2D0-06AB-0830-9222-B17BF9FE9ACA}"/>
              </a:ext>
            </a:extLst>
          </p:cNvPr>
          <p:cNvSpPr txBox="1">
            <a:spLocks/>
          </p:cNvSpPr>
          <p:nvPr/>
        </p:nvSpPr>
        <p:spPr>
          <a:xfrm>
            <a:off x="1152852" y="4501080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6A0DDFF-53D8-F870-12F2-BD5268A62CAB}"/>
              </a:ext>
            </a:extLst>
          </p:cNvPr>
          <p:cNvSpPr txBox="1">
            <a:spLocks/>
          </p:cNvSpPr>
          <p:nvPr/>
        </p:nvSpPr>
        <p:spPr>
          <a:xfrm>
            <a:off x="1152852" y="5050119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CFF1A00-F209-2101-8E98-90034C4234F8}"/>
              </a:ext>
            </a:extLst>
          </p:cNvPr>
          <p:cNvSpPr txBox="1">
            <a:spLocks/>
          </p:cNvSpPr>
          <p:nvPr/>
        </p:nvSpPr>
        <p:spPr>
          <a:xfrm>
            <a:off x="1152852" y="5599158"/>
            <a:ext cx="3691815" cy="411215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5575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7" name="Google Shape;200;p28">
            <a:extLst>
              <a:ext uri="{FF2B5EF4-FFF2-40B4-BE49-F238E27FC236}">
                <a16:creationId xmlns:a16="http://schemas.microsoft.com/office/drawing/2014/main" id="{28F5F2C1-EDCE-0AC3-47F9-01C593E3F921}"/>
              </a:ext>
            </a:extLst>
          </p:cNvPr>
          <p:cNvSpPr txBox="1"/>
          <p:nvPr/>
        </p:nvSpPr>
        <p:spPr>
          <a:xfrm>
            <a:off x="552237" y="3080844"/>
            <a:ext cx="2696600" cy="17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algn="ctr"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cxnSp>
        <p:nvCxnSpPr>
          <p:cNvPr id="38" name="Google Shape;201;p28">
            <a:extLst>
              <a:ext uri="{FF2B5EF4-FFF2-40B4-BE49-F238E27FC236}">
                <a16:creationId xmlns:a16="http://schemas.microsoft.com/office/drawing/2014/main" id="{B51762A4-303A-17A2-B806-0827CA75DF7B}"/>
              </a:ext>
            </a:extLst>
          </p:cNvPr>
          <p:cNvCxnSpPr/>
          <p:nvPr/>
        </p:nvCxnSpPr>
        <p:spPr>
          <a:xfrm rot="10800000">
            <a:off x="3508203" y="3962377"/>
            <a:ext cx="844800" cy="0"/>
          </a:xfrm>
          <a:prstGeom prst="straightConnector1">
            <a:avLst/>
          </a:prstGeom>
          <a:noFill/>
          <a:ln w="9525" cap="flat" cmpd="sng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39" name="Google Shape;203;p28">
            <a:extLst>
              <a:ext uri="{FF2B5EF4-FFF2-40B4-BE49-F238E27FC236}">
                <a16:creationId xmlns:a16="http://schemas.microsoft.com/office/drawing/2014/main" id="{8BD612ED-5003-6B1C-51E1-BE8A5BE33C97}"/>
              </a:ext>
            </a:extLst>
          </p:cNvPr>
          <p:cNvSpPr txBox="1"/>
          <p:nvPr/>
        </p:nvSpPr>
        <p:spPr>
          <a:xfrm>
            <a:off x="8914137" y="1845577"/>
            <a:ext cx="2720628" cy="17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algn="ctr"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cxnSp>
        <p:nvCxnSpPr>
          <p:cNvPr id="40" name="Google Shape;204;p28">
            <a:extLst>
              <a:ext uri="{FF2B5EF4-FFF2-40B4-BE49-F238E27FC236}">
                <a16:creationId xmlns:a16="http://schemas.microsoft.com/office/drawing/2014/main" id="{FC33A49C-29F8-F4ED-A4B1-AD333A30A254}"/>
              </a:ext>
            </a:extLst>
          </p:cNvPr>
          <p:cNvCxnSpPr/>
          <p:nvPr/>
        </p:nvCxnSpPr>
        <p:spPr>
          <a:xfrm>
            <a:off x="6931937" y="2705377"/>
            <a:ext cx="1715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1" name="Google Shape;206;p28">
            <a:extLst>
              <a:ext uri="{FF2B5EF4-FFF2-40B4-BE49-F238E27FC236}">
                <a16:creationId xmlns:a16="http://schemas.microsoft.com/office/drawing/2014/main" id="{696C0F21-0C78-307D-7179-663608A7B102}"/>
              </a:ext>
            </a:extLst>
          </p:cNvPr>
          <p:cNvSpPr txBox="1"/>
          <p:nvPr/>
        </p:nvSpPr>
        <p:spPr>
          <a:xfrm>
            <a:off x="8914137" y="4459044"/>
            <a:ext cx="2720628" cy="17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orem Ipsum</a:t>
            </a:r>
          </a:p>
          <a:p>
            <a:pPr algn="ctr"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tiam vitae quam quis leo pulvinar lacinia at quis odio. Nullam sed nisi.</a:t>
            </a:r>
          </a:p>
        </p:txBody>
      </p:sp>
      <p:cxnSp>
        <p:nvCxnSpPr>
          <p:cNvPr id="42" name="Google Shape;207;p28">
            <a:extLst>
              <a:ext uri="{FF2B5EF4-FFF2-40B4-BE49-F238E27FC236}">
                <a16:creationId xmlns:a16="http://schemas.microsoft.com/office/drawing/2014/main" id="{AC85768D-0FF6-B9FE-6AFF-94766A6C49D2}"/>
              </a:ext>
            </a:extLst>
          </p:cNvPr>
          <p:cNvCxnSpPr/>
          <p:nvPr/>
        </p:nvCxnSpPr>
        <p:spPr>
          <a:xfrm>
            <a:off x="6931937" y="5296177"/>
            <a:ext cx="1715600" cy="0"/>
          </a:xfrm>
          <a:prstGeom prst="straightConnector1">
            <a:avLst/>
          </a:prstGeom>
          <a:noFill/>
          <a:ln w="9525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3" name="Google Shape;208;p28">
            <a:extLst>
              <a:ext uri="{FF2B5EF4-FFF2-40B4-BE49-F238E27FC236}">
                <a16:creationId xmlns:a16="http://schemas.microsoft.com/office/drawing/2014/main" id="{92E8882C-60F3-DC8C-A120-9F99D0883AC4}"/>
              </a:ext>
            </a:extLst>
          </p:cNvPr>
          <p:cNvSpPr/>
          <p:nvPr/>
        </p:nvSpPr>
        <p:spPr>
          <a:xfrm rot="3600185">
            <a:off x="4212131" y="2080619"/>
            <a:ext cx="3699545" cy="3699545"/>
          </a:xfrm>
          <a:prstGeom prst="blockArc">
            <a:avLst>
              <a:gd name="adj1" fmla="val 12622480"/>
              <a:gd name="adj2" fmla="val 19781569"/>
              <a:gd name="adj3" fmla="val 20773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00" kern="0">
              <a:solidFill>
                <a:schemeClr val="bg2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44" name="Google Shape;209;p28">
            <a:extLst>
              <a:ext uri="{FF2B5EF4-FFF2-40B4-BE49-F238E27FC236}">
                <a16:creationId xmlns:a16="http://schemas.microsoft.com/office/drawing/2014/main" id="{1AF8D86A-4C20-EDD0-0060-2D933CDFC2D6}"/>
              </a:ext>
            </a:extLst>
          </p:cNvPr>
          <p:cNvSpPr/>
          <p:nvPr/>
        </p:nvSpPr>
        <p:spPr>
          <a:xfrm rot="10800000">
            <a:off x="4230139" y="2052242"/>
            <a:ext cx="3699600" cy="3699600"/>
          </a:xfrm>
          <a:prstGeom prst="blockArc">
            <a:avLst>
              <a:gd name="adj1" fmla="val 12622480"/>
              <a:gd name="adj2" fmla="val 19662822"/>
              <a:gd name="adj3" fmla="val 2072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00" kern="0">
              <a:solidFill>
                <a:schemeClr val="bg2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45" name="Google Shape;210;p28">
            <a:extLst>
              <a:ext uri="{FF2B5EF4-FFF2-40B4-BE49-F238E27FC236}">
                <a16:creationId xmlns:a16="http://schemas.microsoft.com/office/drawing/2014/main" id="{12AB986F-9D5E-4A2C-5C1C-31F3BDC631C6}"/>
              </a:ext>
            </a:extLst>
          </p:cNvPr>
          <p:cNvSpPr/>
          <p:nvPr/>
        </p:nvSpPr>
        <p:spPr>
          <a:xfrm rot="17999815">
            <a:off x="4244978" y="2080090"/>
            <a:ext cx="3699545" cy="3699545"/>
          </a:xfrm>
          <a:prstGeom prst="blockArc">
            <a:avLst>
              <a:gd name="adj1" fmla="val 12622480"/>
              <a:gd name="adj2" fmla="val 19703271"/>
              <a:gd name="adj3" fmla="val 20851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00" kern="0">
              <a:solidFill>
                <a:schemeClr val="bg2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B349159-A08D-BAAE-52A3-C4D359BACEF1}"/>
              </a:ext>
            </a:extLst>
          </p:cNvPr>
          <p:cNvSpPr>
            <a:spLocks/>
          </p:cNvSpPr>
          <p:nvPr/>
        </p:nvSpPr>
        <p:spPr>
          <a:xfrm>
            <a:off x="4439809" y="4275096"/>
            <a:ext cx="771952" cy="77126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Google Shape;221;p28">
            <a:extLst>
              <a:ext uri="{FF2B5EF4-FFF2-40B4-BE49-F238E27FC236}">
                <a16:creationId xmlns:a16="http://schemas.microsoft.com/office/drawing/2014/main" id="{B7A75BB3-6253-0566-BD42-F682B8BD32B0}"/>
              </a:ext>
            </a:extLst>
          </p:cNvPr>
          <p:cNvSpPr txBox="1"/>
          <p:nvPr/>
        </p:nvSpPr>
        <p:spPr>
          <a:xfrm>
            <a:off x="4453667" y="4311757"/>
            <a:ext cx="678800" cy="3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00" b="1" kern="0" dirty="0">
                <a:solidFill>
                  <a:schemeClr val="bg2"/>
                </a:solidFill>
                <a:latin typeface="+mj-lt"/>
                <a:ea typeface="Amatic SC"/>
                <a:cs typeface="Amatic SC"/>
                <a:sym typeface="Amatic SC"/>
              </a:rPr>
              <a:t>01 </a:t>
            </a:r>
            <a:endParaRPr sz="1400" b="1" kern="0" dirty="0">
              <a:solidFill>
                <a:schemeClr val="bg2"/>
              </a:solidFill>
              <a:latin typeface="+mj-lt"/>
              <a:ea typeface="Amatic SC"/>
              <a:cs typeface="Amatic SC"/>
              <a:sym typeface="Amatic SC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A03DC4D-5DAC-4EE5-F65F-50F1D85A4BC1}"/>
              </a:ext>
            </a:extLst>
          </p:cNvPr>
          <p:cNvSpPr>
            <a:spLocks/>
          </p:cNvSpPr>
          <p:nvPr/>
        </p:nvSpPr>
        <p:spPr>
          <a:xfrm>
            <a:off x="6962778" y="4245550"/>
            <a:ext cx="771952" cy="77126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CD9D239-171B-3627-2929-30510243615F}"/>
              </a:ext>
            </a:extLst>
          </p:cNvPr>
          <p:cNvSpPr>
            <a:spLocks/>
          </p:cNvSpPr>
          <p:nvPr/>
        </p:nvSpPr>
        <p:spPr>
          <a:xfrm>
            <a:off x="5674972" y="2079768"/>
            <a:ext cx="771952" cy="7712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Google Shape;220;p28">
            <a:extLst>
              <a:ext uri="{FF2B5EF4-FFF2-40B4-BE49-F238E27FC236}">
                <a16:creationId xmlns:a16="http://schemas.microsoft.com/office/drawing/2014/main" id="{8E3673D9-78D0-72A8-1230-521AF11E09E4}"/>
              </a:ext>
            </a:extLst>
          </p:cNvPr>
          <p:cNvSpPr txBox="1"/>
          <p:nvPr/>
        </p:nvSpPr>
        <p:spPr>
          <a:xfrm>
            <a:off x="5802075" y="2226736"/>
            <a:ext cx="678800" cy="3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00" b="1" kern="0" dirty="0">
                <a:solidFill>
                  <a:schemeClr val="bg2"/>
                </a:solidFill>
                <a:latin typeface="+mj-lt"/>
                <a:ea typeface="Amatic SC"/>
                <a:cs typeface="Amatic SC"/>
                <a:sym typeface="Amatic SC"/>
              </a:rPr>
              <a:t>03 </a:t>
            </a:r>
            <a:endParaRPr sz="1400" b="1" kern="0" dirty="0">
              <a:solidFill>
                <a:schemeClr val="bg2"/>
              </a:solidFill>
              <a:latin typeface="+mj-lt"/>
              <a:ea typeface="Amatic SC"/>
              <a:cs typeface="Amatic SC"/>
              <a:sym typeface="Amatic SC"/>
            </a:endParaRPr>
          </a:p>
        </p:txBody>
      </p:sp>
      <p:sp>
        <p:nvSpPr>
          <p:cNvPr id="54" name="Google Shape;222;p28">
            <a:extLst>
              <a:ext uri="{FF2B5EF4-FFF2-40B4-BE49-F238E27FC236}">
                <a16:creationId xmlns:a16="http://schemas.microsoft.com/office/drawing/2014/main" id="{BF59A080-C0C7-8EEE-C917-E7AE275B1D61}"/>
              </a:ext>
            </a:extLst>
          </p:cNvPr>
          <p:cNvSpPr txBox="1"/>
          <p:nvPr/>
        </p:nvSpPr>
        <p:spPr>
          <a:xfrm>
            <a:off x="7027989" y="4311757"/>
            <a:ext cx="678800" cy="3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00" b="1" kern="0">
                <a:solidFill>
                  <a:schemeClr val="bg2"/>
                </a:solidFill>
                <a:latin typeface="+mj-lt"/>
                <a:ea typeface="Amatic SC"/>
                <a:cs typeface="Amatic SC"/>
                <a:sym typeface="Amatic SC"/>
              </a:rPr>
              <a:t>02 </a:t>
            </a:r>
            <a:endParaRPr sz="1400" b="1" kern="0">
              <a:solidFill>
                <a:schemeClr val="bg2"/>
              </a:solidFill>
              <a:latin typeface="+mj-lt"/>
              <a:ea typeface="Amatic SC"/>
              <a:cs typeface="Amatic SC"/>
              <a:sym typeface="Amatic SC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235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4">
      <a:dk1>
        <a:srgbClr val="3F3F3F"/>
      </a:dk1>
      <a:lt1>
        <a:srgbClr val="FFFFFF"/>
      </a:lt1>
      <a:dk2>
        <a:srgbClr val="3F3F3F"/>
      </a:dk2>
      <a:lt2>
        <a:srgbClr val="E7E6E6"/>
      </a:lt2>
      <a:accent1>
        <a:srgbClr val="80C7A7"/>
      </a:accent1>
      <a:accent2>
        <a:srgbClr val="92667D"/>
      </a:accent2>
      <a:accent3>
        <a:srgbClr val="D17083"/>
      </a:accent3>
      <a:accent4>
        <a:srgbClr val="FF788B"/>
      </a:accent4>
      <a:accent5>
        <a:srgbClr val="3C5D7A"/>
      </a:accent5>
      <a:accent6>
        <a:srgbClr val="92667D"/>
      </a:accent6>
      <a:hlink>
        <a:srgbClr val="0563C1"/>
      </a:hlink>
      <a:folHlink>
        <a:srgbClr val="954F72"/>
      </a:folHlink>
    </a:clrScheme>
    <a:fontScheme name="Office">
      <a:majorFont>
        <a:latin typeface="Tahom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Tahom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1</TotalTime>
  <Words>1805</Words>
  <Application>Microsoft Office PowerPoint</Application>
  <PresentationFormat>Widescreen</PresentationFormat>
  <Paragraphs>336</Paragraphs>
  <Slides>16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Roboto</vt:lpstr>
      <vt:lpstr>Segoe UI</vt:lpstr>
      <vt:lpstr>Tahoma</vt:lpstr>
      <vt:lpstr>2_Office Theme</vt:lpstr>
      <vt:lpstr>3_Office Them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  <vt:lpstr>Enter Title He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 Title Here</dc:title>
  <dc:creator>Zainab Kassab</dc:creator>
  <cp:lastModifiedBy>Zainab Kassab</cp:lastModifiedBy>
  <cp:revision>112</cp:revision>
  <dcterms:created xsi:type="dcterms:W3CDTF">2022-10-25T11:11:06Z</dcterms:created>
  <dcterms:modified xsi:type="dcterms:W3CDTF">2023-03-08T11:22:35Z</dcterms:modified>
</cp:coreProperties>
</file>